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92" r:id="rId1"/>
    <p:sldMasterId id="2147484204" r:id="rId2"/>
    <p:sldMasterId id="2147484234" r:id="rId3"/>
  </p:sldMasterIdLst>
  <p:notesMasterIdLst>
    <p:notesMasterId r:id="rId21"/>
  </p:notesMasterIdLst>
  <p:handoutMasterIdLst>
    <p:handoutMasterId r:id="rId22"/>
  </p:handoutMasterIdLst>
  <p:sldIdLst>
    <p:sldId id="320" r:id="rId4"/>
    <p:sldId id="345" r:id="rId5"/>
    <p:sldId id="347" r:id="rId6"/>
    <p:sldId id="348" r:id="rId7"/>
    <p:sldId id="349" r:id="rId8"/>
    <p:sldId id="350" r:id="rId9"/>
    <p:sldId id="351" r:id="rId10"/>
    <p:sldId id="352" r:id="rId11"/>
    <p:sldId id="354" r:id="rId12"/>
    <p:sldId id="353" r:id="rId13"/>
    <p:sldId id="355" r:id="rId14"/>
    <p:sldId id="359" r:id="rId15"/>
    <p:sldId id="361" r:id="rId16"/>
    <p:sldId id="366" r:id="rId17"/>
    <p:sldId id="367" r:id="rId18"/>
    <p:sldId id="368" r:id="rId19"/>
    <p:sldId id="346" r:id="rId2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C0504D"/>
    <a:srgbClr val="718EEB"/>
    <a:srgbClr val="E5B8B7"/>
    <a:srgbClr val="F8D784"/>
    <a:srgbClr val="B8E5FE"/>
    <a:srgbClr val="C1D7F1"/>
    <a:srgbClr val="F3DBB7"/>
    <a:srgbClr val="F8C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02" autoAdjust="0"/>
    <p:restoredTop sz="93083" autoAdjust="0"/>
  </p:normalViewPr>
  <p:slideViewPr>
    <p:cSldViewPr snapToGrid="0" snapToObjects="1">
      <p:cViewPr varScale="1">
        <p:scale>
          <a:sx n="70" d="100"/>
          <a:sy n="70" d="100"/>
        </p:scale>
        <p:origin x="1512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1DB2BB1-80EB-4169-9C66-8469FDDCA6C7}" type="datetimeFigureOut">
              <a:rPr lang="ru-RU"/>
              <a:pPr>
                <a:defRPr/>
              </a:pPr>
              <a:t>24.05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543AC2F-F7A1-4362-805B-5C93C27245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036727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BFDF14F-163D-4B3D-99E2-183F383BCA0E}" type="datetimeFigureOut">
              <a:rPr lang="ru-RU"/>
              <a:pPr>
                <a:defRPr/>
              </a:pPr>
              <a:t>24.05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59084F9-C3DC-4D34-8205-1450686A05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460854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16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917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z="1400" b="1" smtClean="0"/>
              <a:t>В России- около 3 % от всего детского населения (более 600 тыс.) составляют дети-сироты и дети, оставшиеся без попечения родителей., т.е. социальные сироты. В европейских странах численность сирот не превышает 0.5%.</a:t>
            </a:r>
          </a:p>
          <a:p>
            <a:pPr eaLnBrk="1" hangingPunct="1">
              <a:spcBef>
                <a:spcPct val="0"/>
              </a:spcBef>
            </a:pPr>
            <a:endParaRPr lang="ru-RU" sz="1400" b="1" smtClean="0"/>
          </a:p>
          <a:p>
            <a:pPr eaLnBrk="1" hangingPunct="1">
              <a:spcBef>
                <a:spcPct val="0"/>
              </a:spcBef>
            </a:pPr>
            <a:r>
              <a:rPr lang="ru-RU" sz="1400" b="1" smtClean="0"/>
              <a:t>Социальное сиротство это негативное социальное явление, имеющее тенденцию к самовоспроизводству.</a:t>
            </a:r>
          </a:p>
          <a:p>
            <a:pPr eaLnBrk="1" hangingPunct="1">
              <a:spcBef>
                <a:spcPct val="0"/>
              </a:spcBef>
            </a:pPr>
            <a:endParaRPr lang="ru-RU" sz="1400" b="1" smtClean="0"/>
          </a:p>
        </p:txBody>
      </p:sp>
      <p:sp>
        <p:nvSpPr>
          <p:cNvPr id="70659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31F15E1-64E0-459D-A9D6-47AA7552C4B9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2376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386" name="Rectangle 7"/>
          <p:cNvSpPr txBox="1">
            <a:spLocks noGrp="1" noChangeArrowheads="1"/>
          </p:cNvSpPr>
          <p:nvPr/>
        </p:nvSpPr>
        <p:spPr bwMode="auto">
          <a:xfrm>
            <a:off x="3886200" y="8685213"/>
            <a:ext cx="29702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eaLnBrk="0" hangingPunct="0"/>
            <a:fld id="{F2E73A16-C427-4375-A20D-53BA4245F844}" type="slidenum">
              <a:rPr lang="ru-RU" altLang="ru-RU" sz="1200"/>
              <a:pPr algn="r" eaLnBrk="0" hangingPunct="0"/>
              <a:t>9</a:t>
            </a:fld>
            <a:endParaRPr lang="ru-RU" altLang="ru-RU" sz="1200"/>
          </a:p>
        </p:txBody>
      </p:sp>
      <p:sp>
        <p:nvSpPr>
          <p:cNvPr id="528387" name="Rectangle 11"/>
          <p:cNvSpPr txBox="1">
            <a:spLocks noGrp="1" noChangeArrowheads="1"/>
          </p:cNvSpPr>
          <p:nvPr/>
        </p:nvSpPr>
        <p:spPr bwMode="auto">
          <a:xfrm>
            <a:off x="3919538" y="8042275"/>
            <a:ext cx="2997200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eaLnBrk="0" hangingPunct="0"/>
            <a:fld id="{D3B7CC9A-C45C-4EFD-A15C-083EE687B4EC}" type="slidenum">
              <a:rPr lang="ru-RU" altLang="ru-RU" sz="1200">
                <a:latin typeface="Calibri" pitchFamily="34" charset="0"/>
              </a:rPr>
              <a:pPr algn="r" eaLnBrk="0" hangingPunct="0"/>
              <a:t>9</a:t>
            </a:fld>
            <a:endParaRPr lang="ru-RU" altLang="ru-RU" sz="1200">
              <a:latin typeface="Calibri" pitchFamily="34" charset="0"/>
            </a:endParaRPr>
          </a:p>
        </p:txBody>
      </p:sp>
      <p:sp>
        <p:nvSpPr>
          <p:cNvPr id="528388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331913" y="627063"/>
            <a:ext cx="4254500" cy="31908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8389" name="Rectangle 2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pPr defTabSz="914400"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4068848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7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1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5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9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3.xml"/><Relationship Id="rId7" Type="http://schemas.openxmlformats.org/officeDocument/2006/relationships/image" Target="../media/image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7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41.xml"/><Relationship Id="rId7" Type="http://schemas.openxmlformats.org/officeDocument/2006/relationships/image" Target="../media/image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45.xml"/><Relationship Id="rId7" Type="http://schemas.openxmlformats.org/officeDocument/2006/relationships/image" Target="../media/image3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49.xml"/><Relationship Id="rId7" Type="http://schemas.openxmlformats.org/officeDocument/2006/relationships/image" Target="../media/image3.png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53.xml"/><Relationship Id="rId7" Type="http://schemas.openxmlformats.org/officeDocument/2006/relationships/image" Target="../media/image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57.xml"/><Relationship Id="rId7" Type="http://schemas.openxmlformats.org/officeDocument/2006/relationships/image" Target="../media/image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61.xml"/><Relationship Id="rId7" Type="http://schemas.openxmlformats.org/officeDocument/2006/relationships/image" Target="../media/image3.png"/><Relationship Id="rId2" Type="http://schemas.openxmlformats.org/officeDocument/2006/relationships/tags" Target="../tags/tag60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65.xml"/><Relationship Id="rId7" Type="http://schemas.openxmlformats.org/officeDocument/2006/relationships/image" Target="../media/image3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69.xml"/><Relationship Id="rId7" Type="http://schemas.openxmlformats.org/officeDocument/2006/relationships/image" Target="../media/image3.png"/><Relationship Id="rId2" Type="http://schemas.openxmlformats.org/officeDocument/2006/relationships/tags" Target="../tags/tag68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5"/>
          <p:cNvSpPr/>
          <p:nvPr/>
        </p:nvSpPr>
        <p:spPr>
          <a:xfrm>
            <a:off x="228600" y="228600"/>
            <a:ext cx="8696325" cy="6035675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Group 9"/>
          <p:cNvGrpSpPr>
            <a:grpSpLocks noChangeAspect="1"/>
          </p:cNvGrpSpPr>
          <p:nvPr/>
        </p:nvGrpSpPr>
        <p:grpSpPr bwMode="auto">
          <a:xfrm>
            <a:off x="211138" y="5354638"/>
            <a:ext cx="8723312" cy="1330325"/>
            <a:chOff x="-3905250" y="4294188"/>
            <a:chExt cx="13011150" cy="1892300"/>
          </a:xfrm>
        </p:grpSpPr>
        <p:sp>
          <p:nvSpPr>
            <p:cNvPr id="6" name="Freeform 14"/>
            <p:cNvSpPr>
              <a:spLocks/>
            </p:cNvSpPr>
            <p:nvPr/>
          </p:nvSpPr>
          <p:spPr bwMode="hidden">
            <a:xfrm>
              <a:off x="4810681" y="4499676"/>
              <a:ext cx="4295219" cy="1016152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" name="Freeform 18"/>
            <p:cNvSpPr>
              <a:spLocks/>
            </p:cNvSpPr>
            <p:nvPr/>
          </p:nvSpPr>
          <p:spPr bwMode="hidden">
            <a:xfrm>
              <a:off x="-308538" y="4319027"/>
              <a:ext cx="8280254" cy="1208092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" name="Freeform 22"/>
            <p:cNvSpPr>
              <a:spLocks/>
            </p:cNvSpPr>
            <p:nvPr/>
          </p:nvSpPr>
          <p:spPr bwMode="hidden">
            <a:xfrm>
              <a:off x="4014" y="4334834"/>
              <a:ext cx="8164231" cy="1101960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" name="Freeform 26"/>
            <p:cNvSpPr>
              <a:spLocks/>
            </p:cNvSpPr>
            <p:nvPr/>
          </p:nvSpPr>
          <p:spPr bwMode="hidden">
            <a:xfrm>
              <a:off x="4157164" y="4316769"/>
              <a:ext cx="4939265" cy="925827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 useBgFill="1">
          <p:nvSpPr>
            <p:cNvPr id="10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0"/>
            <a:ext cx="7772400" cy="1780108"/>
          </a:xfrm>
        </p:spPr>
        <p:txBody>
          <a:bodyPr anchor="b">
            <a:norm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556001"/>
            <a:ext cx="6400800" cy="14732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1571E-BAF5-4A13-BB66-7270862B2E5B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FD9706-B12E-4418-A1E7-8E6039D6C1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20"/>
          <p:cNvSpPr/>
          <p:nvPr/>
        </p:nvSpPr>
        <p:spPr bwMode="hidden">
          <a:xfrm>
            <a:off x="228600" y="228600"/>
            <a:ext cx="8696325" cy="1427163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Group 14"/>
          <p:cNvGrpSpPr>
            <a:grpSpLocks noChangeAspect="1"/>
          </p:cNvGrpSpPr>
          <p:nvPr/>
        </p:nvGrpSpPr>
        <p:grpSpPr bwMode="auto">
          <a:xfrm>
            <a:off x="211138" y="714375"/>
            <a:ext cx="8723312" cy="1331913"/>
            <a:chOff x="-3905250" y="4294188"/>
            <a:chExt cx="13011150" cy="1892300"/>
          </a:xfrm>
        </p:grpSpPr>
        <p:sp>
          <p:nvSpPr>
            <p:cNvPr id="6" name="Freeform 14"/>
            <p:cNvSpPr>
              <a:spLocks/>
            </p:cNvSpPr>
            <p:nvPr/>
          </p:nvSpPr>
          <p:spPr bwMode="hidden">
            <a:xfrm>
              <a:off x="4810681" y="4501687"/>
              <a:ext cx="4295219" cy="101494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" name="Freeform 18"/>
            <p:cNvSpPr>
              <a:spLocks/>
            </p:cNvSpPr>
            <p:nvPr/>
          </p:nvSpPr>
          <p:spPr bwMode="hidden">
            <a:xfrm>
              <a:off x="-308538" y="4318998"/>
              <a:ext cx="8280254" cy="1208906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" name="Freeform 22"/>
            <p:cNvSpPr>
              <a:spLocks/>
            </p:cNvSpPr>
            <p:nvPr/>
          </p:nvSpPr>
          <p:spPr bwMode="hidden">
            <a:xfrm>
              <a:off x="4014" y="4334786"/>
              <a:ext cx="8164231" cy="1102902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" name="Freeform 26"/>
            <p:cNvSpPr>
              <a:spLocks/>
            </p:cNvSpPr>
            <p:nvPr/>
          </p:nvSpPr>
          <p:spPr bwMode="hidden">
            <a:xfrm>
              <a:off x="4157164" y="4316742"/>
              <a:ext cx="4939265" cy="926979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 useBgFill="1">
          <p:nvSpPr>
            <p:cNvPr id="10" name="Freeform 19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447800"/>
            <a:ext cx="2057400" cy="4487333"/>
          </a:xfrm>
        </p:spPr>
        <p:txBody>
          <a:bodyPr vert="eaVert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6019800" cy="4487334"/>
          </a:xfrm>
        </p:spPr>
        <p:txBody>
          <a:bodyPr vert="eaVert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41CBA-DF7B-424F-8B30-FDF9DB1CD808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E61828-78F6-4F43-9AE9-69B23270B8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ABE8F5-E96A-46C1-9296-071AA37E6377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DD55C7-3140-418D-A694-8E5EA9BBFB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14282" y="2130425"/>
            <a:ext cx="8715436" cy="1470025"/>
          </a:xfrm>
        </p:spPr>
        <p:txBody>
          <a:bodyPr/>
          <a:lstStyle>
            <a:lvl1pPr algn="ctr">
              <a:defRPr sz="3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97156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2844" y="785794"/>
            <a:ext cx="4352956" cy="5340369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3438" y="785794"/>
            <a:ext cx="4357718" cy="5340369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42844" y="788974"/>
            <a:ext cx="435771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42844" y="1500174"/>
            <a:ext cx="4354544" cy="464347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785794"/>
            <a:ext cx="4356131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500174"/>
            <a:ext cx="4356131" cy="462598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E85F4B-6B5A-4F28-B519-D5C98A293B74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B8823C-7BD2-4694-BB43-883F7A500E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8772525" y="6581775"/>
            <a:ext cx="3714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1E9F68FB-8CED-41A5-8BB2-9B0CF0C39CFB}" type="slidenum">
              <a:rPr lang="ru-RU" sz="1200">
                <a:solidFill>
                  <a:srgbClr val="898989"/>
                </a:solidFill>
                <a:cs typeface="Arial" charset="0"/>
              </a:rPr>
              <a:pPr>
                <a:defRPr/>
              </a:pPr>
              <a:t>‹#›</a:t>
            </a:fld>
            <a:endParaRPr lang="ru-RU">
              <a:solidFill>
                <a:prstClr val="white"/>
              </a:solidFill>
              <a:latin typeface="+mn-lt"/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785793"/>
            <a:ext cx="5486400" cy="3941781"/>
          </a:xfrm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429264"/>
            <a:ext cx="5486400" cy="7429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 userDrawn="1"/>
        </p:nvSpPr>
        <p:spPr bwMode="auto">
          <a:xfrm>
            <a:off x="8772525" y="6581775"/>
            <a:ext cx="3714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4B5FA1D3-ACFD-493C-AAB7-41251C9A9B59}" type="slidenum">
              <a:rPr lang="ru-RU" sz="1200">
                <a:solidFill>
                  <a:srgbClr val="898989"/>
                </a:solidFill>
                <a:cs typeface="Arial" charset="0"/>
              </a:rPr>
              <a:pPr>
                <a:defRPr/>
              </a:pPr>
              <a:t>‹#›</a:t>
            </a:fld>
            <a:endParaRPr lang="ru-RU">
              <a:solidFill>
                <a:prstClr val="white"/>
              </a:solidFill>
              <a:latin typeface="+mn-lt"/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 userDrawn="1"/>
        </p:nvSpPr>
        <p:spPr bwMode="auto">
          <a:xfrm>
            <a:off x="8772525" y="6581775"/>
            <a:ext cx="3714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DC762846-9010-429D-A68E-8C5FBE11C205}" type="slidenum">
              <a:rPr lang="ru-RU" sz="1200">
                <a:solidFill>
                  <a:srgbClr val="898989"/>
                </a:solidFill>
                <a:cs typeface="Arial" charset="0"/>
              </a:rPr>
              <a:pPr>
                <a:defRPr/>
              </a:pPr>
              <a:t>‹#›</a:t>
            </a:fld>
            <a:endParaRPr lang="ru-RU">
              <a:solidFill>
                <a:prstClr val="white"/>
              </a:solidFill>
              <a:latin typeface="+mn-lt"/>
              <a:cs typeface="Arial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785794"/>
            <a:ext cx="2057400" cy="534036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3836" y="785794"/>
            <a:ext cx="6305552" cy="534036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graphicFrame>
        <p:nvGraphicFramePr>
          <p:cNvPr id="10" name="AutoShape 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36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8772525" y="6581775"/>
            <a:ext cx="3714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C73B1402-7436-496C-AB3E-9A9A4D917387}" type="slidenum">
              <a:rPr lang="ru-RU" sz="1200">
                <a:solidFill>
                  <a:srgbClr val="898989"/>
                </a:solidFill>
                <a:cs typeface="Arial" charset="0"/>
              </a:rPr>
              <a:pPr>
                <a:defRPr/>
              </a:pPr>
              <a:t>‹#›</a:t>
            </a:fld>
            <a:endParaRPr lang="ru-RU">
              <a:solidFill>
                <a:prstClr val="white"/>
              </a:solidFill>
              <a:latin typeface="+mn-lt"/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60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384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08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32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56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80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3"/>
          <p:cNvSpPr/>
          <p:nvPr/>
        </p:nvSpPr>
        <p:spPr>
          <a:xfrm>
            <a:off x="228600" y="228600"/>
            <a:ext cx="8696325" cy="473710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Freeform 14"/>
          <p:cNvSpPr>
            <a:spLocks/>
          </p:cNvSpPr>
          <p:nvPr/>
        </p:nvSpPr>
        <p:spPr bwMode="hidden">
          <a:xfrm>
            <a:off x="6046788" y="4203700"/>
            <a:ext cx="2876550" cy="714375"/>
          </a:xfrm>
          <a:custGeom>
            <a:avLst/>
            <a:gdLst/>
            <a:ahLst/>
            <a:cxnLst>
              <a:cxn ang="0">
                <a:pos x="2700" y="0"/>
              </a:cxn>
              <a:cxn ang="0">
                <a:pos x="2700" y="0"/>
              </a:cxn>
              <a:cxn ang="0">
                <a:pos x="2586" y="18"/>
              </a:cxn>
              <a:cxn ang="0">
                <a:pos x="2470" y="38"/>
              </a:cxn>
              <a:cxn ang="0">
                <a:pos x="2352" y="60"/>
              </a:cxn>
              <a:cxn ang="0">
                <a:pos x="2230" y="82"/>
              </a:cxn>
              <a:cxn ang="0">
                <a:pos x="2106" y="108"/>
              </a:cxn>
              <a:cxn ang="0">
                <a:pos x="1978" y="134"/>
              </a:cxn>
              <a:cxn ang="0">
                <a:pos x="1848" y="164"/>
              </a:cxn>
              <a:cxn ang="0">
                <a:pos x="1714" y="194"/>
              </a:cxn>
              <a:cxn ang="0">
                <a:pos x="1714" y="194"/>
              </a:cxn>
              <a:cxn ang="0">
                <a:pos x="1472" y="252"/>
              </a:cxn>
              <a:cxn ang="0">
                <a:pos x="1236" y="304"/>
              </a:cxn>
              <a:cxn ang="0">
                <a:pos x="1010" y="352"/>
              </a:cxn>
              <a:cxn ang="0">
                <a:pos x="792" y="398"/>
              </a:cxn>
              <a:cxn ang="0">
                <a:pos x="584" y="438"/>
              </a:cxn>
              <a:cxn ang="0">
                <a:pos x="382" y="474"/>
              </a:cxn>
              <a:cxn ang="0">
                <a:pos x="188" y="508"/>
              </a:cxn>
              <a:cxn ang="0">
                <a:pos x="0" y="538"/>
              </a:cxn>
              <a:cxn ang="0">
                <a:pos x="0" y="538"/>
              </a:cxn>
              <a:cxn ang="0">
                <a:pos x="130" y="556"/>
              </a:cxn>
              <a:cxn ang="0">
                <a:pos x="254" y="572"/>
              </a:cxn>
              <a:cxn ang="0">
                <a:pos x="374" y="586"/>
              </a:cxn>
              <a:cxn ang="0">
                <a:pos x="492" y="598"/>
              </a:cxn>
              <a:cxn ang="0">
                <a:pos x="606" y="610"/>
              </a:cxn>
              <a:cxn ang="0">
                <a:pos x="716" y="618"/>
              </a:cxn>
              <a:cxn ang="0">
                <a:pos x="822" y="626"/>
              </a:cxn>
              <a:cxn ang="0">
                <a:pos x="926" y="632"/>
              </a:cxn>
              <a:cxn ang="0">
                <a:pos x="1028" y="636"/>
              </a:cxn>
              <a:cxn ang="0">
                <a:pos x="1126" y="638"/>
              </a:cxn>
              <a:cxn ang="0">
                <a:pos x="1220" y="640"/>
              </a:cxn>
              <a:cxn ang="0">
                <a:pos x="1312" y="640"/>
              </a:cxn>
              <a:cxn ang="0">
                <a:pos x="1402" y="638"/>
              </a:cxn>
              <a:cxn ang="0">
                <a:pos x="1490" y="636"/>
              </a:cxn>
              <a:cxn ang="0">
                <a:pos x="1574" y="632"/>
              </a:cxn>
              <a:cxn ang="0">
                <a:pos x="1656" y="626"/>
              </a:cxn>
              <a:cxn ang="0">
                <a:pos x="1734" y="620"/>
              </a:cxn>
              <a:cxn ang="0">
                <a:pos x="1812" y="612"/>
              </a:cxn>
              <a:cxn ang="0">
                <a:pos x="1886" y="602"/>
              </a:cxn>
              <a:cxn ang="0">
                <a:pos x="1960" y="592"/>
              </a:cxn>
              <a:cxn ang="0">
                <a:pos x="2030" y="580"/>
              </a:cxn>
              <a:cxn ang="0">
                <a:pos x="2100" y="568"/>
              </a:cxn>
              <a:cxn ang="0">
                <a:pos x="2166" y="554"/>
              </a:cxn>
              <a:cxn ang="0">
                <a:pos x="2232" y="540"/>
              </a:cxn>
              <a:cxn ang="0">
                <a:pos x="2296" y="524"/>
              </a:cxn>
              <a:cxn ang="0">
                <a:pos x="2358" y="508"/>
              </a:cxn>
              <a:cxn ang="0">
                <a:pos x="2418" y="490"/>
              </a:cxn>
              <a:cxn ang="0">
                <a:pos x="2478" y="472"/>
              </a:cxn>
              <a:cxn ang="0">
                <a:pos x="2592" y="432"/>
              </a:cxn>
              <a:cxn ang="0">
                <a:pos x="2702" y="390"/>
              </a:cxn>
              <a:cxn ang="0">
                <a:pos x="2702" y="390"/>
              </a:cxn>
              <a:cxn ang="0">
                <a:pos x="2706" y="388"/>
              </a:cxn>
              <a:cxn ang="0">
                <a:pos x="2706" y="388"/>
              </a:cxn>
              <a:cxn ang="0">
                <a:pos x="2706" y="0"/>
              </a:cxn>
              <a:cxn ang="0">
                <a:pos x="2706" y="0"/>
              </a:cxn>
              <a:cxn ang="0">
                <a:pos x="2700" y="0"/>
              </a:cxn>
              <a:cxn ang="0">
                <a:pos x="2700" y="0"/>
              </a:cxn>
            </a:cxnLst>
            <a:rect l="0" t="0" r="r" b="b"/>
            <a:pathLst>
              <a:path w="2706" h="640">
                <a:moveTo>
                  <a:pt x="2700" y="0"/>
                </a:moveTo>
                <a:lnTo>
                  <a:pt x="2700" y="0"/>
                </a:lnTo>
                <a:lnTo>
                  <a:pt x="2586" y="18"/>
                </a:lnTo>
                <a:lnTo>
                  <a:pt x="2470" y="38"/>
                </a:lnTo>
                <a:lnTo>
                  <a:pt x="2352" y="60"/>
                </a:lnTo>
                <a:lnTo>
                  <a:pt x="2230" y="82"/>
                </a:lnTo>
                <a:lnTo>
                  <a:pt x="2106" y="108"/>
                </a:lnTo>
                <a:lnTo>
                  <a:pt x="1978" y="134"/>
                </a:lnTo>
                <a:lnTo>
                  <a:pt x="1848" y="164"/>
                </a:lnTo>
                <a:lnTo>
                  <a:pt x="1714" y="194"/>
                </a:lnTo>
                <a:lnTo>
                  <a:pt x="1714" y="194"/>
                </a:lnTo>
                <a:lnTo>
                  <a:pt x="1472" y="252"/>
                </a:lnTo>
                <a:lnTo>
                  <a:pt x="1236" y="304"/>
                </a:lnTo>
                <a:lnTo>
                  <a:pt x="1010" y="352"/>
                </a:lnTo>
                <a:lnTo>
                  <a:pt x="792" y="398"/>
                </a:lnTo>
                <a:lnTo>
                  <a:pt x="584" y="438"/>
                </a:lnTo>
                <a:lnTo>
                  <a:pt x="382" y="474"/>
                </a:lnTo>
                <a:lnTo>
                  <a:pt x="188" y="508"/>
                </a:lnTo>
                <a:lnTo>
                  <a:pt x="0" y="538"/>
                </a:lnTo>
                <a:lnTo>
                  <a:pt x="0" y="538"/>
                </a:lnTo>
                <a:lnTo>
                  <a:pt x="130" y="556"/>
                </a:lnTo>
                <a:lnTo>
                  <a:pt x="254" y="572"/>
                </a:lnTo>
                <a:lnTo>
                  <a:pt x="374" y="586"/>
                </a:lnTo>
                <a:lnTo>
                  <a:pt x="492" y="598"/>
                </a:lnTo>
                <a:lnTo>
                  <a:pt x="606" y="610"/>
                </a:lnTo>
                <a:lnTo>
                  <a:pt x="716" y="618"/>
                </a:lnTo>
                <a:lnTo>
                  <a:pt x="822" y="626"/>
                </a:lnTo>
                <a:lnTo>
                  <a:pt x="926" y="632"/>
                </a:lnTo>
                <a:lnTo>
                  <a:pt x="1028" y="636"/>
                </a:lnTo>
                <a:lnTo>
                  <a:pt x="1126" y="638"/>
                </a:lnTo>
                <a:lnTo>
                  <a:pt x="1220" y="640"/>
                </a:lnTo>
                <a:lnTo>
                  <a:pt x="1312" y="640"/>
                </a:lnTo>
                <a:lnTo>
                  <a:pt x="1402" y="638"/>
                </a:lnTo>
                <a:lnTo>
                  <a:pt x="1490" y="636"/>
                </a:lnTo>
                <a:lnTo>
                  <a:pt x="1574" y="632"/>
                </a:lnTo>
                <a:lnTo>
                  <a:pt x="1656" y="626"/>
                </a:lnTo>
                <a:lnTo>
                  <a:pt x="1734" y="620"/>
                </a:lnTo>
                <a:lnTo>
                  <a:pt x="1812" y="612"/>
                </a:lnTo>
                <a:lnTo>
                  <a:pt x="1886" y="602"/>
                </a:lnTo>
                <a:lnTo>
                  <a:pt x="1960" y="592"/>
                </a:lnTo>
                <a:lnTo>
                  <a:pt x="2030" y="580"/>
                </a:lnTo>
                <a:lnTo>
                  <a:pt x="2100" y="568"/>
                </a:lnTo>
                <a:lnTo>
                  <a:pt x="2166" y="554"/>
                </a:lnTo>
                <a:lnTo>
                  <a:pt x="2232" y="540"/>
                </a:lnTo>
                <a:lnTo>
                  <a:pt x="2296" y="524"/>
                </a:lnTo>
                <a:lnTo>
                  <a:pt x="2358" y="508"/>
                </a:lnTo>
                <a:lnTo>
                  <a:pt x="2418" y="490"/>
                </a:lnTo>
                <a:lnTo>
                  <a:pt x="2478" y="472"/>
                </a:lnTo>
                <a:lnTo>
                  <a:pt x="2592" y="432"/>
                </a:lnTo>
                <a:lnTo>
                  <a:pt x="2702" y="390"/>
                </a:lnTo>
                <a:lnTo>
                  <a:pt x="2702" y="390"/>
                </a:lnTo>
                <a:lnTo>
                  <a:pt x="2706" y="388"/>
                </a:lnTo>
                <a:lnTo>
                  <a:pt x="2706" y="388"/>
                </a:lnTo>
                <a:lnTo>
                  <a:pt x="2706" y="0"/>
                </a:lnTo>
                <a:lnTo>
                  <a:pt x="2706" y="0"/>
                </a:lnTo>
                <a:lnTo>
                  <a:pt x="2700" y="0"/>
                </a:lnTo>
                <a:lnTo>
                  <a:pt x="2700" y="0"/>
                </a:lnTo>
                <a:close/>
              </a:path>
            </a:pathLst>
          </a:custGeom>
          <a:solidFill>
            <a:schemeClr val="bg2">
              <a:alpha val="29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6" name="Freeform 18"/>
          <p:cNvSpPr>
            <a:spLocks/>
          </p:cNvSpPr>
          <p:nvPr/>
        </p:nvSpPr>
        <p:spPr bwMode="hidden">
          <a:xfrm>
            <a:off x="2619375" y="4075113"/>
            <a:ext cx="5545138" cy="850900"/>
          </a:xfrm>
          <a:custGeom>
            <a:avLst/>
            <a:gdLst/>
            <a:ahLst/>
            <a:cxnLst>
              <a:cxn ang="0">
                <a:pos x="5216" y="714"/>
              </a:cxn>
              <a:cxn ang="0">
                <a:pos x="4984" y="686"/>
              </a:cxn>
              <a:cxn ang="0">
                <a:pos x="4478" y="610"/>
              </a:cxn>
              <a:cxn ang="0">
                <a:pos x="3914" y="508"/>
              </a:cxn>
              <a:cxn ang="0">
                <a:pos x="3286" y="374"/>
              </a:cxn>
              <a:cxn ang="0">
                <a:pos x="2946" y="296"/>
              </a:cxn>
              <a:cxn ang="0">
                <a:pos x="2682" y="236"/>
              </a:cxn>
              <a:cxn ang="0">
                <a:pos x="2430" y="184"/>
              </a:cxn>
              <a:cxn ang="0">
                <a:pos x="2190" y="140"/>
              </a:cxn>
              <a:cxn ang="0">
                <a:pos x="1960" y="102"/>
              </a:cxn>
              <a:cxn ang="0">
                <a:pos x="1740" y="72"/>
              </a:cxn>
              <a:cxn ang="0">
                <a:pos x="1334" y="28"/>
              </a:cxn>
              <a:cxn ang="0">
                <a:pos x="970" y="4"/>
              </a:cxn>
              <a:cxn ang="0">
                <a:pos x="644" y="0"/>
              </a:cxn>
              <a:cxn ang="0">
                <a:pos x="358" y="10"/>
              </a:cxn>
              <a:cxn ang="0">
                <a:pos x="110" y="32"/>
              </a:cxn>
              <a:cxn ang="0">
                <a:pos x="0" y="48"/>
              </a:cxn>
              <a:cxn ang="0">
                <a:pos x="314" y="86"/>
              </a:cxn>
              <a:cxn ang="0">
                <a:pos x="652" y="140"/>
              </a:cxn>
              <a:cxn ang="0">
                <a:pos x="1014" y="210"/>
              </a:cxn>
              <a:cxn ang="0">
                <a:pos x="1402" y="296"/>
              </a:cxn>
              <a:cxn ang="0">
                <a:pos x="1756" y="378"/>
              </a:cxn>
              <a:cxn ang="0">
                <a:pos x="2408" y="516"/>
              </a:cxn>
              <a:cxn ang="0">
                <a:pos x="2708" y="572"/>
              </a:cxn>
              <a:cxn ang="0">
                <a:pos x="2992" y="620"/>
              </a:cxn>
              <a:cxn ang="0">
                <a:pos x="3260" y="662"/>
              </a:cxn>
              <a:cxn ang="0">
                <a:pos x="3512" y="694"/>
              </a:cxn>
              <a:cxn ang="0">
                <a:pos x="3750" y="722"/>
              </a:cxn>
              <a:cxn ang="0">
                <a:pos x="3974" y="740"/>
              </a:cxn>
              <a:cxn ang="0">
                <a:pos x="4184" y="754"/>
              </a:cxn>
              <a:cxn ang="0">
                <a:pos x="4384" y="762"/>
              </a:cxn>
              <a:cxn ang="0">
                <a:pos x="4570" y="762"/>
              </a:cxn>
              <a:cxn ang="0">
                <a:pos x="4746" y="758"/>
              </a:cxn>
              <a:cxn ang="0">
                <a:pos x="4912" y="748"/>
              </a:cxn>
              <a:cxn ang="0">
                <a:pos x="5068" y="732"/>
              </a:cxn>
              <a:cxn ang="0">
                <a:pos x="5216" y="714"/>
              </a:cxn>
            </a:cxnLst>
            <a:rect l="0" t="0" r="r" b="b"/>
            <a:pathLst>
              <a:path w="5216" h="762">
                <a:moveTo>
                  <a:pt x="5216" y="714"/>
                </a:moveTo>
                <a:lnTo>
                  <a:pt x="5216" y="714"/>
                </a:lnTo>
                <a:lnTo>
                  <a:pt x="5102" y="700"/>
                </a:lnTo>
                <a:lnTo>
                  <a:pt x="4984" y="686"/>
                </a:lnTo>
                <a:lnTo>
                  <a:pt x="4738" y="652"/>
                </a:lnTo>
                <a:lnTo>
                  <a:pt x="4478" y="610"/>
                </a:lnTo>
                <a:lnTo>
                  <a:pt x="4204" y="564"/>
                </a:lnTo>
                <a:lnTo>
                  <a:pt x="3914" y="508"/>
                </a:lnTo>
                <a:lnTo>
                  <a:pt x="3608" y="446"/>
                </a:lnTo>
                <a:lnTo>
                  <a:pt x="3286" y="374"/>
                </a:lnTo>
                <a:lnTo>
                  <a:pt x="2946" y="296"/>
                </a:lnTo>
                <a:lnTo>
                  <a:pt x="2946" y="296"/>
                </a:lnTo>
                <a:lnTo>
                  <a:pt x="2812" y="266"/>
                </a:lnTo>
                <a:lnTo>
                  <a:pt x="2682" y="236"/>
                </a:lnTo>
                <a:lnTo>
                  <a:pt x="2556" y="210"/>
                </a:lnTo>
                <a:lnTo>
                  <a:pt x="2430" y="184"/>
                </a:lnTo>
                <a:lnTo>
                  <a:pt x="2308" y="162"/>
                </a:lnTo>
                <a:lnTo>
                  <a:pt x="2190" y="140"/>
                </a:lnTo>
                <a:lnTo>
                  <a:pt x="2074" y="120"/>
                </a:lnTo>
                <a:lnTo>
                  <a:pt x="1960" y="102"/>
                </a:lnTo>
                <a:lnTo>
                  <a:pt x="1850" y="86"/>
                </a:lnTo>
                <a:lnTo>
                  <a:pt x="1740" y="72"/>
                </a:lnTo>
                <a:lnTo>
                  <a:pt x="1532" y="46"/>
                </a:lnTo>
                <a:lnTo>
                  <a:pt x="1334" y="28"/>
                </a:lnTo>
                <a:lnTo>
                  <a:pt x="1148" y="14"/>
                </a:lnTo>
                <a:lnTo>
                  <a:pt x="970" y="4"/>
                </a:lnTo>
                <a:lnTo>
                  <a:pt x="802" y="0"/>
                </a:lnTo>
                <a:lnTo>
                  <a:pt x="644" y="0"/>
                </a:lnTo>
                <a:lnTo>
                  <a:pt x="496" y="4"/>
                </a:lnTo>
                <a:lnTo>
                  <a:pt x="358" y="10"/>
                </a:lnTo>
                <a:lnTo>
                  <a:pt x="230" y="20"/>
                </a:lnTo>
                <a:lnTo>
                  <a:pt x="110" y="32"/>
                </a:lnTo>
                <a:lnTo>
                  <a:pt x="0" y="48"/>
                </a:lnTo>
                <a:lnTo>
                  <a:pt x="0" y="48"/>
                </a:lnTo>
                <a:lnTo>
                  <a:pt x="154" y="66"/>
                </a:lnTo>
                <a:lnTo>
                  <a:pt x="314" y="86"/>
                </a:lnTo>
                <a:lnTo>
                  <a:pt x="480" y="112"/>
                </a:lnTo>
                <a:lnTo>
                  <a:pt x="652" y="140"/>
                </a:lnTo>
                <a:lnTo>
                  <a:pt x="830" y="174"/>
                </a:lnTo>
                <a:lnTo>
                  <a:pt x="1014" y="210"/>
                </a:lnTo>
                <a:lnTo>
                  <a:pt x="1206" y="250"/>
                </a:lnTo>
                <a:lnTo>
                  <a:pt x="1402" y="296"/>
                </a:lnTo>
                <a:lnTo>
                  <a:pt x="1402" y="296"/>
                </a:lnTo>
                <a:lnTo>
                  <a:pt x="1756" y="378"/>
                </a:lnTo>
                <a:lnTo>
                  <a:pt x="2092" y="450"/>
                </a:lnTo>
                <a:lnTo>
                  <a:pt x="2408" y="516"/>
                </a:lnTo>
                <a:lnTo>
                  <a:pt x="2562" y="544"/>
                </a:lnTo>
                <a:lnTo>
                  <a:pt x="2708" y="572"/>
                </a:lnTo>
                <a:lnTo>
                  <a:pt x="2852" y="598"/>
                </a:lnTo>
                <a:lnTo>
                  <a:pt x="2992" y="620"/>
                </a:lnTo>
                <a:lnTo>
                  <a:pt x="3128" y="642"/>
                </a:lnTo>
                <a:lnTo>
                  <a:pt x="3260" y="662"/>
                </a:lnTo>
                <a:lnTo>
                  <a:pt x="3388" y="678"/>
                </a:lnTo>
                <a:lnTo>
                  <a:pt x="3512" y="694"/>
                </a:lnTo>
                <a:lnTo>
                  <a:pt x="3632" y="708"/>
                </a:lnTo>
                <a:lnTo>
                  <a:pt x="3750" y="722"/>
                </a:lnTo>
                <a:lnTo>
                  <a:pt x="3864" y="732"/>
                </a:lnTo>
                <a:lnTo>
                  <a:pt x="3974" y="740"/>
                </a:lnTo>
                <a:lnTo>
                  <a:pt x="4080" y="748"/>
                </a:lnTo>
                <a:lnTo>
                  <a:pt x="4184" y="754"/>
                </a:lnTo>
                <a:lnTo>
                  <a:pt x="4286" y="758"/>
                </a:lnTo>
                <a:lnTo>
                  <a:pt x="4384" y="762"/>
                </a:lnTo>
                <a:lnTo>
                  <a:pt x="4478" y="762"/>
                </a:lnTo>
                <a:lnTo>
                  <a:pt x="4570" y="762"/>
                </a:lnTo>
                <a:lnTo>
                  <a:pt x="4660" y="760"/>
                </a:lnTo>
                <a:lnTo>
                  <a:pt x="4746" y="758"/>
                </a:lnTo>
                <a:lnTo>
                  <a:pt x="4830" y="754"/>
                </a:lnTo>
                <a:lnTo>
                  <a:pt x="4912" y="748"/>
                </a:lnTo>
                <a:lnTo>
                  <a:pt x="4992" y="740"/>
                </a:lnTo>
                <a:lnTo>
                  <a:pt x="5068" y="732"/>
                </a:lnTo>
                <a:lnTo>
                  <a:pt x="5144" y="724"/>
                </a:lnTo>
                <a:lnTo>
                  <a:pt x="5216" y="714"/>
                </a:lnTo>
                <a:lnTo>
                  <a:pt x="5216" y="714"/>
                </a:lnTo>
                <a:close/>
              </a:path>
            </a:pathLst>
          </a:custGeom>
          <a:solidFill>
            <a:schemeClr val="bg2">
              <a:alpha val="4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7" name="Freeform 22"/>
          <p:cNvSpPr>
            <a:spLocks/>
          </p:cNvSpPr>
          <p:nvPr/>
        </p:nvSpPr>
        <p:spPr bwMode="hidden">
          <a:xfrm>
            <a:off x="2828925" y="4087813"/>
            <a:ext cx="5467350" cy="774700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0" y="70"/>
              </a:cxn>
              <a:cxn ang="0">
                <a:pos x="18" y="66"/>
              </a:cxn>
              <a:cxn ang="0">
                <a:pos x="72" y="56"/>
              </a:cxn>
              <a:cxn ang="0">
                <a:pos x="164" y="42"/>
              </a:cxn>
              <a:cxn ang="0">
                <a:pos x="224" y="34"/>
              </a:cxn>
              <a:cxn ang="0">
                <a:pos x="294" y="26"/>
              </a:cxn>
              <a:cxn ang="0">
                <a:pos x="372" y="20"/>
              </a:cxn>
              <a:cxn ang="0">
                <a:pos x="462" y="14"/>
              </a:cxn>
              <a:cxn ang="0">
                <a:pos x="560" y="8"/>
              </a:cxn>
              <a:cxn ang="0">
                <a:pos x="670" y="4"/>
              </a:cxn>
              <a:cxn ang="0">
                <a:pos x="790" y="2"/>
              </a:cxn>
              <a:cxn ang="0">
                <a:pos x="920" y="0"/>
              </a:cxn>
              <a:cxn ang="0">
                <a:pos x="1060" y="2"/>
              </a:cxn>
              <a:cxn ang="0">
                <a:pos x="1210" y="6"/>
              </a:cxn>
              <a:cxn ang="0">
                <a:pos x="1372" y="14"/>
              </a:cxn>
              <a:cxn ang="0">
                <a:pos x="1544" y="24"/>
              </a:cxn>
              <a:cxn ang="0">
                <a:pos x="1726" y="40"/>
              </a:cxn>
              <a:cxn ang="0">
                <a:pos x="1920" y="58"/>
              </a:cxn>
              <a:cxn ang="0">
                <a:pos x="2126" y="80"/>
              </a:cxn>
              <a:cxn ang="0">
                <a:pos x="2342" y="106"/>
              </a:cxn>
              <a:cxn ang="0">
                <a:pos x="2570" y="138"/>
              </a:cxn>
              <a:cxn ang="0">
                <a:pos x="2808" y="174"/>
              </a:cxn>
              <a:cxn ang="0">
                <a:pos x="3058" y="216"/>
              </a:cxn>
              <a:cxn ang="0">
                <a:pos x="3320" y="266"/>
              </a:cxn>
              <a:cxn ang="0">
                <a:pos x="3594" y="320"/>
              </a:cxn>
              <a:cxn ang="0">
                <a:pos x="3880" y="380"/>
              </a:cxn>
              <a:cxn ang="0">
                <a:pos x="4178" y="448"/>
              </a:cxn>
              <a:cxn ang="0">
                <a:pos x="4488" y="522"/>
              </a:cxn>
              <a:cxn ang="0">
                <a:pos x="4810" y="604"/>
              </a:cxn>
              <a:cxn ang="0">
                <a:pos x="5144" y="694"/>
              </a:cxn>
            </a:cxnLst>
            <a:rect l="0" t="0" r="r" b="b"/>
            <a:pathLst>
              <a:path w="5144" h="694">
                <a:moveTo>
                  <a:pt x="0" y="70"/>
                </a:moveTo>
                <a:lnTo>
                  <a:pt x="0" y="70"/>
                </a:lnTo>
                <a:lnTo>
                  <a:pt x="18" y="66"/>
                </a:lnTo>
                <a:lnTo>
                  <a:pt x="72" y="56"/>
                </a:lnTo>
                <a:lnTo>
                  <a:pt x="164" y="42"/>
                </a:lnTo>
                <a:lnTo>
                  <a:pt x="224" y="34"/>
                </a:lnTo>
                <a:lnTo>
                  <a:pt x="294" y="26"/>
                </a:lnTo>
                <a:lnTo>
                  <a:pt x="372" y="20"/>
                </a:lnTo>
                <a:lnTo>
                  <a:pt x="462" y="14"/>
                </a:lnTo>
                <a:lnTo>
                  <a:pt x="560" y="8"/>
                </a:lnTo>
                <a:lnTo>
                  <a:pt x="670" y="4"/>
                </a:lnTo>
                <a:lnTo>
                  <a:pt x="790" y="2"/>
                </a:lnTo>
                <a:lnTo>
                  <a:pt x="920" y="0"/>
                </a:lnTo>
                <a:lnTo>
                  <a:pt x="1060" y="2"/>
                </a:lnTo>
                <a:lnTo>
                  <a:pt x="1210" y="6"/>
                </a:lnTo>
                <a:lnTo>
                  <a:pt x="1372" y="14"/>
                </a:lnTo>
                <a:lnTo>
                  <a:pt x="1544" y="24"/>
                </a:lnTo>
                <a:lnTo>
                  <a:pt x="1726" y="40"/>
                </a:lnTo>
                <a:lnTo>
                  <a:pt x="1920" y="58"/>
                </a:lnTo>
                <a:lnTo>
                  <a:pt x="2126" y="80"/>
                </a:lnTo>
                <a:lnTo>
                  <a:pt x="2342" y="106"/>
                </a:lnTo>
                <a:lnTo>
                  <a:pt x="2570" y="138"/>
                </a:lnTo>
                <a:lnTo>
                  <a:pt x="2808" y="174"/>
                </a:lnTo>
                <a:lnTo>
                  <a:pt x="3058" y="216"/>
                </a:lnTo>
                <a:lnTo>
                  <a:pt x="3320" y="266"/>
                </a:lnTo>
                <a:lnTo>
                  <a:pt x="3594" y="320"/>
                </a:lnTo>
                <a:lnTo>
                  <a:pt x="3880" y="380"/>
                </a:lnTo>
                <a:lnTo>
                  <a:pt x="4178" y="448"/>
                </a:lnTo>
                <a:lnTo>
                  <a:pt x="4488" y="522"/>
                </a:lnTo>
                <a:lnTo>
                  <a:pt x="4810" y="604"/>
                </a:lnTo>
                <a:lnTo>
                  <a:pt x="5144" y="694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8" name="Freeform 26"/>
          <p:cNvSpPr>
            <a:spLocks/>
          </p:cNvSpPr>
          <p:nvPr/>
        </p:nvSpPr>
        <p:spPr bwMode="hidden">
          <a:xfrm>
            <a:off x="5610225" y="4073525"/>
            <a:ext cx="3306763" cy="652463"/>
          </a:xfrm>
          <a:custGeom>
            <a:avLst/>
            <a:gdLst/>
            <a:ahLst/>
            <a:cxnLst>
              <a:cxn ang="0">
                <a:pos x="0" y="584"/>
              </a:cxn>
              <a:cxn ang="0">
                <a:pos x="0" y="584"/>
              </a:cxn>
              <a:cxn ang="0">
                <a:pos x="90" y="560"/>
              </a:cxn>
              <a:cxn ang="0">
                <a:pos x="336" y="498"/>
              </a:cxn>
              <a:cxn ang="0">
                <a:pos x="506" y="456"/>
              </a:cxn>
              <a:cxn ang="0">
                <a:pos x="702" y="410"/>
              </a:cxn>
              <a:cxn ang="0">
                <a:pos x="920" y="360"/>
              </a:cxn>
              <a:cxn ang="0">
                <a:pos x="1154" y="306"/>
              </a:cxn>
              <a:cxn ang="0">
                <a:pos x="1402" y="254"/>
              </a:cxn>
              <a:cxn ang="0">
                <a:pos x="1656" y="202"/>
              </a:cxn>
              <a:cxn ang="0">
                <a:pos x="1916" y="154"/>
              </a:cxn>
              <a:cxn ang="0">
                <a:pos x="2174" y="108"/>
              </a:cxn>
              <a:cxn ang="0">
                <a:pos x="2302" y="88"/>
              </a:cxn>
              <a:cxn ang="0">
                <a:pos x="2426" y="68"/>
              </a:cxn>
              <a:cxn ang="0">
                <a:pos x="2550" y="52"/>
              </a:cxn>
              <a:cxn ang="0">
                <a:pos x="2670" y="36"/>
              </a:cxn>
              <a:cxn ang="0">
                <a:pos x="2788" y="24"/>
              </a:cxn>
              <a:cxn ang="0">
                <a:pos x="2900" y="14"/>
              </a:cxn>
              <a:cxn ang="0">
                <a:pos x="3008" y="6"/>
              </a:cxn>
              <a:cxn ang="0">
                <a:pos x="3112" y="0"/>
              </a:cxn>
            </a:cxnLst>
            <a:rect l="0" t="0" r="r" b="b"/>
            <a:pathLst>
              <a:path w="3112" h="584">
                <a:moveTo>
                  <a:pt x="0" y="584"/>
                </a:moveTo>
                <a:lnTo>
                  <a:pt x="0" y="584"/>
                </a:lnTo>
                <a:lnTo>
                  <a:pt x="90" y="560"/>
                </a:lnTo>
                <a:lnTo>
                  <a:pt x="336" y="498"/>
                </a:lnTo>
                <a:lnTo>
                  <a:pt x="506" y="456"/>
                </a:lnTo>
                <a:lnTo>
                  <a:pt x="702" y="410"/>
                </a:lnTo>
                <a:lnTo>
                  <a:pt x="920" y="360"/>
                </a:lnTo>
                <a:lnTo>
                  <a:pt x="1154" y="306"/>
                </a:lnTo>
                <a:lnTo>
                  <a:pt x="1402" y="254"/>
                </a:lnTo>
                <a:lnTo>
                  <a:pt x="1656" y="202"/>
                </a:lnTo>
                <a:lnTo>
                  <a:pt x="1916" y="154"/>
                </a:lnTo>
                <a:lnTo>
                  <a:pt x="2174" y="108"/>
                </a:lnTo>
                <a:lnTo>
                  <a:pt x="2302" y="88"/>
                </a:lnTo>
                <a:lnTo>
                  <a:pt x="2426" y="68"/>
                </a:lnTo>
                <a:lnTo>
                  <a:pt x="2550" y="52"/>
                </a:lnTo>
                <a:lnTo>
                  <a:pt x="2670" y="36"/>
                </a:lnTo>
                <a:lnTo>
                  <a:pt x="2788" y="24"/>
                </a:lnTo>
                <a:lnTo>
                  <a:pt x="2900" y="14"/>
                </a:lnTo>
                <a:lnTo>
                  <a:pt x="3008" y="6"/>
                </a:lnTo>
                <a:lnTo>
                  <a:pt x="3112" y="0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 useBgFill="1">
        <p:nvSpPr>
          <p:cNvPr id="9" name="Freeform 10"/>
          <p:cNvSpPr>
            <a:spLocks/>
          </p:cNvSpPr>
          <p:nvPr/>
        </p:nvSpPr>
        <p:spPr bwMode="hidden">
          <a:xfrm>
            <a:off x="211138" y="4059238"/>
            <a:ext cx="8723312" cy="1328737"/>
          </a:xfrm>
          <a:custGeom>
            <a:avLst/>
            <a:gdLst/>
            <a:ahLst/>
            <a:cxnLst>
              <a:cxn ang="0">
                <a:pos x="8192" y="512"/>
              </a:cxn>
              <a:cxn ang="0">
                <a:pos x="8040" y="570"/>
              </a:cxn>
              <a:cxn ang="0">
                <a:pos x="7878" y="620"/>
              </a:cxn>
              <a:cxn ang="0">
                <a:pos x="7706" y="666"/>
              </a:cxn>
              <a:cxn ang="0">
                <a:pos x="7522" y="702"/>
              </a:cxn>
              <a:cxn ang="0">
                <a:pos x="7322" y="730"/>
              </a:cxn>
              <a:cxn ang="0">
                <a:pos x="7106" y="750"/>
              </a:cxn>
              <a:cxn ang="0">
                <a:pos x="6872" y="762"/>
              </a:cxn>
              <a:cxn ang="0">
                <a:pos x="6618" y="760"/>
              </a:cxn>
              <a:cxn ang="0">
                <a:pos x="6342" y="750"/>
              </a:cxn>
              <a:cxn ang="0">
                <a:pos x="6042" y="726"/>
              </a:cxn>
              <a:cxn ang="0">
                <a:pos x="5716" y="690"/>
              </a:cxn>
              <a:cxn ang="0">
                <a:pos x="5364" y="642"/>
              </a:cxn>
              <a:cxn ang="0">
                <a:pos x="4982" y="578"/>
              </a:cxn>
              <a:cxn ang="0">
                <a:pos x="4568" y="500"/>
              </a:cxn>
              <a:cxn ang="0">
                <a:pos x="4122" y="406"/>
              </a:cxn>
              <a:cxn ang="0">
                <a:pos x="3640" y="296"/>
              </a:cxn>
              <a:cxn ang="0">
                <a:pos x="3396" y="240"/>
              </a:cxn>
              <a:cxn ang="0">
                <a:pos x="2934" y="148"/>
              </a:cxn>
              <a:cxn ang="0">
                <a:pos x="2512" y="82"/>
              </a:cxn>
              <a:cxn ang="0">
                <a:pos x="2126" y="36"/>
              </a:cxn>
              <a:cxn ang="0">
                <a:pos x="1776" y="10"/>
              </a:cxn>
              <a:cxn ang="0">
                <a:pos x="1462" y="0"/>
              </a:cxn>
              <a:cxn ang="0">
                <a:pos x="1182" y="4"/>
              </a:cxn>
              <a:cxn ang="0">
                <a:pos x="934" y="20"/>
              </a:cxn>
              <a:cxn ang="0">
                <a:pos x="716" y="44"/>
              </a:cxn>
              <a:cxn ang="0">
                <a:pos x="530" y="74"/>
              </a:cxn>
              <a:cxn ang="0">
                <a:pos x="374" y="108"/>
              </a:cxn>
              <a:cxn ang="0">
                <a:pos x="248" y="144"/>
              </a:cxn>
              <a:cxn ang="0">
                <a:pos x="148" y="176"/>
              </a:cxn>
              <a:cxn ang="0">
                <a:pos x="48" y="216"/>
              </a:cxn>
              <a:cxn ang="0">
                <a:pos x="0" y="240"/>
              </a:cxn>
              <a:cxn ang="0">
                <a:pos x="8192" y="1192"/>
              </a:cxn>
              <a:cxn ang="0">
                <a:pos x="8196" y="1186"/>
              </a:cxn>
              <a:cxn ang="0">
                <a:pos x="8196" y="510"/>
              </a:cxn>
              <a:cxn ang="0">
                <a:pos x="8192" y="512"/>
              </a:cxn>
            </a:cxnLst>
            <a:rect l="0" t="0" r="r" b="b"/>
            <a:pathLst>
              <a:path w="8196" h="1192">
                <a:moveTo>
                  <a:pt x="8192" y="512"/>
                </a:moveTo>
                <a:lnTo>
                  <a:pt x="8192" y="512"/>
                </a:lnTo>
                <a:lnTo>
                  <a:pt x="8116" y="542"/>
                </a:lnTo>
                <a:lnTo>
                  <a:pt x="8040" y="570"/>
                </a:lnTo>
                <a:lnTo>
                  <a:pt x="7960" y="596"/>
                </a:lnTo>
                <a:lnTo>
                  <a:pt x="7878" y="620"/>
                </a:lnTo>
                <a:lnTo>
                  <a:pt x="7794" y="644"/>
                </a:lnTo>
                <a:lnTo>
                  <a:pt x="7706" y="666"/>
                </a:lnTo>
                <a:lnTo>
                  <a:pt x="7616" y="684"/>
                </a:lnTo>
                <a:lnTo>
                  <a:pt x="7522" y="702"/>
                </a:lnTo>
                <a:lnTo>
                  <a:pt x="7424" y="718"/>
                </a:lnTo>
                <a:lnTo>
                  <a:pt x="7322" y="730"/>
                </a:lnTo>
                <a:lnTo>
                  <a:pt x="7216" y="742"/>
                </a:lnTo>
                <a:lnTo>
                  <a:pt x="7106" y="750"/>
                </a:lnTo>
                <a:lnTo>
                  <a:pt x="6992" y="758"/>
                </a:lnTo>
                <a:lnTo>
                  <a:pt x="6872" y="762"/>
                </a:lnTo>
                <a:lnTo>
                  <a:pt x="6748" y="762"/>
                </a:lnTo>
                <a:lnTo>
                  <a:pt x="6618" y="760"/>
                </a:lnTo>
                <a:lnTo>
                  <a:pt x="6482" y="756"/>
                </a:lnTo>
                <a:lnTo>
                  <a:pt x="6342" y="750"/>
                </a:lnTo>
                <a:lnTo>
                  <a:pt x="6196" y="740"/>
                </a:lnTo>
                <a:lnTo>
                  <a:pt x="6042" y="726"/>
                </a:lnTo>
                <a:lnTo>
                  <a:pt x="5882" y="710"/>
                </a:lnTo>
                <a:lnTo>
                  <a:pt x="5716" y="690"/>
                </a:lnTo>
                <a:lnTo>
                  <a:pt x="5544" y="668"/>
                </a:lnTo>
                <a:lnTo>
                  <a:pt x="5364" y="642"/>
                </a:lnTo>
                <a:lnTo>
                  <a:pt x="5176" y="612"/>
                </a:lnTo>
                <a:lnTo>
                  <a:pt x="4982" y="578"/>
                </a:lnTo>
                <a:lnTo>
                  <a:pt x="4778" y="540"/>
                </a:lnTo>
                <a:lnTo>
                  <a:pt x="4568" y="500"/>
                </a:lnTo>
                <a:lnTo>
                  <a:pt x="4348" y="454"/>
                </a:lnTo>
                <a:lnTo>
                  <a:pt x="4122" y="406"/>
                </a:lnTo>
                <a:lnTo>
                  <a:pt x="3886" y="354"/>
                </a:lnTo>
                <a:lnTo>
                  <a:pt x="3640" y="296"/>
                </a:lnTo>
                <a:lnTo>
                  <a:pt x="3640" y="296"/>
                </a:lnTo>
                <a:lnTo>
                  <a:pt x="3396" y="240"/>
                </a:lnTo>
                <a:lnTo>
                  <a:pt x="3160" y="192"/>
                </a:lnTo>
                <a:lnTo>
                  <a:pt x="2934" y="148"/>
                </a:lnTo>
                <a:lnTo>
                  <a:pt x="2718" y="112"/>
                </a:lnTo>
                <a:lnTo>
                  <a:pt x="2512" y="82"/>
                </a:lnTo>
                <a:lnTo>
                  <a:pt x="2314" y="56"/>
                </a:lnTo>
                <a:lnTo>
                  <a:pt x="2126" y="36"/>
                </a:lnTo>
                <a:lnTo>
                  <a:pt x="1948" y="20"/>
                </a:lnTo>
                <a:lnTo>
                  <a:pt x="1776" y="10"/>
                </a:lnTo>
                <a:lnTo>
                  <a:pt x="1616" y="2"/>
                </a:lnTo>
                <a:lnTo>
                  <a:pt x="1462" y="0"/>
                </a:lnTo>
                <a:lnTo>
                  <a:pt x="1318" y="0"/>
                </a:lnTo>
                <a:lnTo>
                  <a:pt x="1182" y="4"/>
                </a:lnTo>
                <a:lnTo>
                  <a:pt x="1054" y="10"/>
                </a:lnTo>
                <a:lnTo>
                  <a:pt x="934" y="20"/>
                </a:lnTo>
                <a:lnTo>
                  <a:pt x="822" y="30"/>
                </a:lnTo>
                <a:lnTo>
                  <a:pt x="716" y="44"/>
                </a:lnTo>
                <a:lnTo>
                  <a:pt x="620" y="58"/>
                </a:lnTo>
                <a:lnTo>
                  <a:pt x="530" y="74"/>
                </a:lnTo>
                <a:lnTo>
                  <a:pt x="450" y="92"/>
                </a:lnTo>
                <a:lnTo>
                  <a:pt x="374" y="108"/>
                </a:lnTo>
                <a:lnTo>
                  <a:pt x="308" y="126"/>
                </a:lnTo>
                <a:lnTo>
                  <a:pt x="248" y="144"/>
                </a:lnTo>
                <a:lnTo>
                  <a:pt x="194" y="160"/>
                </a:lnTo>
                <a:lnTo>
                  <a:pt x="148" y="176"/>
                </a:lnTo>
                <a:lnTo>
                  <a:pt x="108" y="192"/>
                </a:lnTo>
                <a:lnTo>
                  <a:pt x="48" y="216"/>
                </a:lnTo>
                <a:lnTo>
                  <a:pt x="12" y="234"/>
                </a:lnTo>
                <a:lnTo>
                  <a:pt x="0" y="240"/>
                </a:lnTo>
                <a:lnTo>
                  <a:pt x="0" y="1192"/>
                </a:lnTo>
                <a:lnTo>
                  <a:pt x="8192" y="1192"/>
                </a:lnTo>
                <a:lnTo>
                  <a:pt x="8192" y="1192"/>
                </a:lnTo>
                <a:lnTo>
                  <a:pt x="8196" y="1186"/>
                </a:lnTo>
                <a:lnTo>
                  <a:pt x="8196" y="1186"/>
                </a:lnTo>
                <a:lnTo>
                  <a:pt x="8196" y="510"/>
                </a:lnTo>
                <a:lnTo>
                  <a:pt x="8196" y="510"/>
                </a:lnTo>
                <a:lnTo>
                  <a:pt x="8192" y="512"/>
                </a:lnTo>
                <a:lnTo>
                  <a:pt x="8192" y="512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032" y="2463560"/>
            <a:ext cx="7772400" cy="1524000"/>
          </a:xfrm>
        </p:spPr>
        <p:txBody>
          <a:bodyPr anchor="t">
            <a:normAutofit/>
          </a:bodyPr>
          <a:lstStyle>
            <a:lvl1pPr algn="ctr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7365" y="1437448"/>
            <a:ext cx="6417734" cy="939801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822A9C-59A9-4E9D-9D8E-83E71E6E73E7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175F1C-4389-47BF-A01B-686796C3D10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04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28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52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76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00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24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48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72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96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20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76655" y="2679192"/>
            <a:ext cx="3822192" cy="3447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2679192"/>
            <a:ext cx="3822192" cy="3447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653760-D994-4778-9DDD-22B94F5EDB06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61351-AF5F-4F68-9E2D-D5AA554727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FFFFFF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FFFFFF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14313" y="500063"/>
            <a:ext cx="8559800" cy="61912"/>
          </a:xfrm>
          <a:prstGeom prst="rect">
            <a:avLst/>
          </a:prstGeom>
          <a:gradFill rotWithShape="1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lIns="91354" tIns="45676" rIns="91354" bIns="45676" anchor="ctr"/>
          <a:lstStyle/>
          <a:p>
            <a:pPr>
              <a:defRPr/>
            </a:pPr>
            <a:endParaRPr lang="ru-RU">
              <a:solidFill>
                <a:srgbClr val="FFFFFF"/>
              </a:solidFill>
              <a:latin typeface="+mn-lt"/>
              <a:cs typeface="Arial" charset="0"/>
            </a:endParaRPr>
          </a:p>
        </p:txBody>
      </p:sp>
      <p:pic>
        <p:nvPicPr>
          <p:cNvPr id="11" name="Picture 12" descr="logo - bi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8429625" y="0"/>
            <a:ext cx="541338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AutoShape 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44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2A7AFA-6DBA-41E3-94FC-6121BDB8786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3457EF-4AE9-4E29-8B6E-733B35EBFBA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B847F-263E-4656-9CAC-D0DD5131A9E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E2DEB-CA52-440D-9E3F-C67FDBEB79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F7E06F-7114-456B-8119-18EED543302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F635A-5614-4476-842C-6EF3F70E6A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38D0D5-A0B8-4C7C-9506-9B734B1379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6C0FD5-83A9-4E30-963D-9A3EA70F92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2CA9E9-0E4C-4FF8-942E-D2F43C5E901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678114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7332" y="3429000"/>
            <a:ext cx="3820055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2678113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429000"/>
            <a:ext cx="3822192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05BE4-AA6F-494C-B435-C08F8CC11368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CD252-BA83-4CD8-9137-FF34682E55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21FDD-F4B0-4005-8DF1-99921E7792C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43D89F-E6E2-4C54-B52D-3ECF230897F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883714-8337-4CBF-A64D-24A4DCF1282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F597C3-4198-437B-93A8-5F86A65C00F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B07C0F-D77D-40E0-A4B2-08893D2C3FF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ED2C18-D3EF-49C6-B034-37161A25DF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3825" y="542925"/>
            <a:ext cx="8794750" cy="6327775"/>
            <a:chOff x="85" y="342"/>
            <a:chExt cx="6001" cy="3986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85" y="342"/>
              <a:ext cx="6001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55675">
                <a:defRPr/>
              </a:pPr>
              <a:r>
                <a:rPr lang="en-US" sz="170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7" y="4045"/>
              <a:ext cx="5687" cy="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marL="612775" indent="-612775" defTabSz="955675"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	*	Footnote</a:t>
              </a:r>
            </a:p>
            <a:p>
              <a:pPr marL="612775" indent="-612775" defTabSz="955675">
                <a:spcBef>
                  <a:spcPct val="20000"/>
                </a:spcBef>
                <a:tabLst>
                  <a:tab pos="568325" algn="r"/>
                </a:tabLst>
                <a:defRPr/>
              </a:pPr>
              <a:r>
                <a:rPr lang="en-US" sz="1300">
                  <a:solidFill>
                    <a:srgbClr val="000000"/>
                  </a:solidFill>
                  <a:latin typeface="+mn-lt"/>
                  <a:cs typeface="Arial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81975" y="2789238"/>
            <a:ext cx="1779588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Working Draft - Last Modified 1/30/2007 4:40:31 PM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58213" y="4348163"/>
            <a:ext cx="1027112" cy="9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76313">
              <a:defRPr/>
            </a:pPr>
            <a:r>
              <a:rPr lang="en-US" sz="600">
                <a:solidFill>
                  <a:srgbClr val="000000"/>
                </a:solidFill>
                <a:latin typeface="+mn-lt"/>
                <a:cs typeface="Arial" charset="0"/>
              </a:rPr>
              <a:t>Printed 1/26/2007 4:14:15 PM</a:t>
            </a:r>
          </a:p>
        </p:txBody>
      </p:sp>
      <p:graphicFrame>
        <p:nvGraphicFramePr>
          <p:cNvPr id="10" name="AutoShape 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68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857232"/>
            <a:ext cx="7786742" cy="64291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A70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714875" y="857231"/>
            <a:ext cx="3643313" cy="50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  <a:lvl2pPr marL="452438" indent="-285750">
              <a:buFont typeface="Wingdings" pitchFamily="2" charset="2"/>
              <a:buChar char="v"/>
              <a:defRPr sz="14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C8B060-F89B-44E3-9E4E-5505D544125D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EF30C9-7A33-4579-85AE-E080BB31222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4"/>
          <p:cNvSpPr/>
          <p:nvPr/>
        </p:nvSpPr>
        <p:spPr>
          <a:xfrm>
            <a:off x="228600" y="228600"/>
            <a:ext cx="8696325" cy="1427163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6" name="Group 23"/>
          <p:cNvGrpSpPr>
            <a:grpSpLocks noChangeAspect="1"/>
          </p:cNvGrpSpPr>
          <p:nvPr/>
        </p:nvGrpSpPr>
        <p:grpSpPr bwMode="auto">
          <a:xfrm>
            <a:off x="211138" y="714375"/>
            <a:ext cx="8723312" cy="1331913"/>
            <a:chOff x="-3905250" y="4294188"/>
            <a:chExt cx="13011150" cy="1892300"/>
          </a:xfrm>
        </p:grpSpPr>
        <p:sp>
          <p:nvSpPr>
            <p:cNvPr id="7" name="Freeform 14"/>
            <p:cNvSpPr>
              <a:spLocks/>
            </p:cNvSpPr>
            <p:nvPr/>
          </p:nvSpPr>
          <p:spPr bwMode="hidden">
            <a:xfrm>
              <a:off x="4810681" y="4501687"/>
              <a:ext cx="4295219" cy="101494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hidden">
            <a:xfrm>
              <a:off x="-308538" y="4318998"/>
              <a:ext cx="8280254" cy="1208906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hidden">
            <a:xfrm>
              <a:off x="4014" y="4334786"/>
              <a:ext cx="8164231" cy="1102902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" name="Freeform 26"/>
            <p:cNvSpPr>
              <a:spLocks/>
            </p:cNvSpPr>
            <p:nvPr/>
          </p:nvSpPr>
          <p:spPr bwMode="hidden">
            <a:xfrm>
              <a:off x="4157164" y="4316742"/>
              <a:ext cx="4939265" cy="926979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 useBgFill="1">
          <p:nvSpPr>
            <p:cNvPr id="11" name="Freeform 28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3581400"/>
            <a:ext cx="3352800" cy="190500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914400" y="2286000"/>
            <a:ext cx="3352800" cy="1252728"/>
          </a:xfrm>
        </p:spPr>
        <p:txBody>
          <a:bodyPr anchor="b">
            <a:noAutofit/>
          </a:bodyPr>
          <a:lstStyle>
            <a:lvl1pPr algn="l"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1962" y="1828800"/>
            <a:ext cx="3904076" cy="3810000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tx2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tx2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tx2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89E85A-1A68-4EE2-B01B-3328DBCCA4CC}" type="datetime1">
              <a:rPr lang="ru-RU"/>
              <a:pPr>
                <a:defRPr/>
              </a:pPr>
              <a:t>24.05.2017</a:t>
            </a:fld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A09AE6-C5AA-44C8-B8F8-0B8742482F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4"/>
          <p:cNvSpPr/>
          <p:nvPr/>
        </p:nvSpPr>
        <p:spPr>
          <a:xfrm>
            <a:off x="228600" y="228600"/>
            <a:ext cx="8696325" cy="6035675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6" name="Group 8"/>
          <p:cNvGrpSpPr>
            <a:grpSpLocks noChangeAspect="1"/>
          </p:cNvGrpSpPr>
          <p:nvPr/>
        </p:nvGrpSpPr>
        <p:grpSpPr bwMode="auto">
          <a:xfrm>
            <a:off x="211138" y="5354638"/>
            <a:ext cx="8723312" cy="1330325"/>
            <a:chOff x="-3905250" y="4294188"/>
            <a:chExt cx="13011150" cy="1892300"/>
          </a:xfrm>
        </p:grpSpPr>
        <p:sp>
          <p:nvSpPr>
            <p:cNvPr id="7" name="Freeform 14"/>
            <p:cNvSpPr>
              <a:spLocks/>
            </p:cNvSpPr>
            <p:nvPr/>
          </p:nvSpPr>
          <p:spPr bwMode="hidden">
            <a:xfrm>
              <a:off x="4810681" y="4499676"/>
              <a:ext cx="4295219" cy="1016152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hidden">
            <a:xfrm>
              <a:off x="-308538" y="4319027"/>
              <a:ext cx="8280254" cy="1208092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hidden">
            <a:xfrm>
              <a:off x="4014" y="4334834"/>
              <a:ext cx="8164231" cy="1101960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" name="Freeform 26"/>
            <p:cNvSpPr>
              <a:spLocks/>
            </p:cNvSpPr>
            <p:nvPr/>
          </p:nvSpPr>
          <p:spPr bwMode="hidden">
            <a:xfrm>
              <a:off x="4157164" y="4316769"/>
              <a:ext cx="4939265" cy="925827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 useBgFill="1">
          <p:nvSpPr>
            <p:cNvPr id="11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155" y="338667"/>
            <a:ext cx="3812645" cy="2429934"/>
          </a:xfrm>
        </p:spPr>
        <p:txBody>
          <a:bodyPr anchor="b">
            <a:normAutofit/>
          </a:bodyPr>
          <a:lstStyle>
            <a:lvl1pPr algn="l"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68333" y="2785533"/>
            <a:ext cx="3818467" cy="24214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1371600"/>
            <a:ext cx="3566160" cy="2926080"/>
          </a:xfrm>
          <a:prstGeom prst="roundRect">
            <a:avLst>
              <a:gd name="adj" fmla="val 3924"/>
            </a:avLst>
          </a:prstGeom>
          <a:solidFill>
            <a:schemeClr val="accent1"/>
          </a:solidFill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 fov="600000">
              <a:rot lat="240000" lon="19799999" rev="0"/>
            </a:camera>
            <a:lightRig rig="threePt" dir="t">
              <a:rot lat="0" lon="0" rev="2700000"/>
            </a:lightRig>
          </a:scene3d>
          <a:sp3d>
            <a:bevelT w="44450" h="31750"/>
          </a:sp3d>
        </p:spPr>
        <p:txBody>
          <a:bodyPr rtlCol="0">
            <a:norm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Чтобы добавить рисунок, перетащите его на заполнитель или щелкните значок</a:t>
            </a:r>
            <a:endParaRPr lang="en-US" noProof="0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049FA-BE12-4277-BFB5-7AB1FB04F499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DC8BF1-B58C-4756-8248-897D5CCFDE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B87322-102A-45A0-B1F1-E2B29C0CE531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C1D044-BA9C-4161-971F-09939077DE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6325" cy="2468563"/>
          </a:xfrm>
          <a:prstGeom prst="roundRect">
            <a:avLst>
              <a:gd name="adj" fmla="val 336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1027" name="Group 15"/>
          <p:cNvGrpSpPr>
            <a:grpSpLocks noChangeAspect="1"/>
          </p:cNvGrpSpPr>
          <p:nvPr/>
        </p:nvGrpSpPr>
        <p:grpSpPr bwMode="auto">
          <a:xfrm>
            <a:off x="211138" y="1679575"/>
            <a:ext cx="8723312" cy="1330325"/>
            <a:chOff x="-3905251" y="4294188"/>
            <a:chExt cx="13027839" cy="1892300"/>
          </a:xfrm>
        </p:grpSpPr>
        <p:sp>
          <p:nvSpPr>
            <p:cNvPr id="17" name="Freeform 14"/>
            <p:cNvSpPr>
              <a:spLocks/>
            </p:cNvSpPr>
            <p:nvPr/>
          </p:nvSpPr>
          <p:spPr bwMode="hidden">
            <a:xfrm>
              <a:off x="4810006" y="4499677"/>
              <a:ext cx="4295986" cy="1016152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hidden">
            <a:xfrm>
              <a:off x="-308667" y="4319028"/>
              <a:ext cx="8279020" cy="1208091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hidden">
            <a:xfrm>
              <a:off x="4286" y="4334834"/>
              <a:ext cx="8165219" cy="1101960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hidden">
            <a:xfrm>
              <a:off x="4155651" y="4316769"/>
              <a:ext cx="4940859" cy="925827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 useBgFill="1">
          <p:nvSpPr>
            <p:cNvPr id="2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338138"/>
            <a:ext cx="8229600" cy="125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64138" y="6249988"/>
            <a:ext cx="3786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D500DD08-CE9C-4006-83E1-3626DC7EE4BC}" type="datetime1">
              <a:rPr lang="ru-RU"/>
              <a:pPr>
                <a:defRPr/>
              </a:pPr>
              <a:t>24.05.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75" y="6249988"/>
            <a:ext cx="37861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90975" y="6249988"/>
            <a:ext cx="11620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6AB0CA3D-9D3E-4FA5-8FA4-6DF9DAAF9C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71538" y="2674938"/>
            <a:ext cx="7408862" cy="345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1" r:id="rId1"/>
    <p:sldLayoutId id="2147484270" r:id="rId2"/>
    <p:sldLayoutId id="2147484292" r:id="rId3"/>
    <p:sldLayoutId id="2147484271" r:id="rId4"/>
    <p:sldLayoutId id="2147484272" r:id="rId5"/>
    <p:sldLayoutId id="2147484273" r:id="rId6"/>
    <p:sldLayoutId id="2147484293" r:id="rId7"/>
    <p:sldLayoutId id="2147484294" r:id="rId8"/>
    <p:sldLayoutId id="2147484274" r:id="rId9"/>
    <p:sldLayoutId id="2147484295" r:id="rId10"/>
    <p:sldLayoutId id="2147484275" r:id="rId1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FFFFF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Candar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Candar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Candar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Candara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Symbol" pitchFamily="18" charset="2"/>
        <a:buChar char="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26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Symbol" pitchFamily="18" charset="2"/>
        <a:buChar char="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55663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Symbol" pitchFamily="18" charset="2"/>
        <a:buChar char="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Symbol" pitchFamily="18" charset="2"/>
        <a:buChar char=""/>
        <a:defRPr kern="1200">
          <a:solidFill>
            <a:schemeClr val="tx2"/>
          </a:solidFill>
          <a:latin typeface="+mn-lt"/>
          <a:ea typeface="+mn-ea"/>
          <a:cs typeface="+mn-cs"/>
        </a:defRPr>
      </a:lvl4pPr>
      <a:lvl5pPr marL="1462088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Symbol" pitchFamily="18" charset="2"/>
        <a:buChar char="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8308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10312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42316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74320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E7F6">
            <a:alpha val="63921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gradFill rotWithShape="0">
            <a:gsLst>
              <a:gs pos="0">
                <a:srgbClr val="9ABCE6"/>
              </a:gs>
              <a:gs pos="100000">
                <a:srgbClr val="FFFF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kern="0">
              <a:solidFill>
                <a:srgbClr val="000000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>
                    <a:tint val="75000"/>
                  </a:prst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>
                    <a:tint val="75000"/>
                  </a:prst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>
                    <a:tint val="75000"/>
                  </a:prst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D145A1A-0336-4DB5-A454-83B824A4544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6" name="Rectangle 10"/>
          <p:cNvSpPr>
            <a:spLocks noChangeArrowheads="1"/>
          </p:cNvSpPr>
          <p:nvPr/>
        </p:nvSpPr>
        <p:spPr bwMode="auto">
          <a:xfrm>
            <a:off x="8772525" y="6581775"/>
            <a:ext cx="3714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fld id="{376E8C84-0E84-4675-B8B6-10E37A39A8AA}" type="slidenum">
              <a:rPr lang="ru-RU" sz="1200">
                <a:solidFill>
                  <a:srgbClr val="898989"/>
                </a:solidFill>
                <a:cs typeface="Arial" charset="0"/>
              </a:rPr>
              <a:pPr>
                <a:defRPr/>
              </a:pPr>
              <a:t>‹#›</a:t>
            </a:fld>
            <a:endParaRPr lang="ru-RU">
              <a:solidFill>
                <a:prstClr val="white"/>
              </a:solidFill>
              <a:latin typeface="+mn-lt"/>
              <a:cs typeface="Arial" charset="0"/>
            </a:endParaRPr>
          </a:p>
        </p:txBody>
      </p:sp>
      <p:pic>
        <p:nvPicPr>
          <p:cNvPr id="13319" name="Рисунок 11" descr="Голубь1"/>
          <p:cNvPicPr>
            <a:picLocks noChangeAspect="1" noChangeArrowheads="1"/>
          </p:cNvPicPr>
          <p:nvPr userDrawn="1"/>
        </p:nvPicPr>
        <p:blipFill>
          <a:blip r:embed="rId31"/>
          <a:srcRect/>
          <a:stretch>
            <a:fillRect/>
          </a:stretch>
        </p:blipFill>
        <p:spPr bwMode="auto">
          <a:xfrm>
            <a:off x="8382000" y="0"/>
            <a:ext cx="6096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dk1" tx1="lt1" bg2="dk2" tx2="lt2" accent1="accent1" accent2="accent2" accent3="accent3" accent4="accent4" accent5="accent5" accent6="accent6" hlink="hlink" folHlink="folHlink"/>
  <p:sldLayoutIdLst>
    <p:sldLayoutId id="2147484296" r:id="rId1"/>
    <p:sldLayoutId id="2147484297" r:id="rId2"/>
    <p:sldLayoutId id="2147484298" r:id="rId3"/>
    <p:sldLayoutId id="2147484299" r:id="rId4"/>
    <p:sldLayoutId id="2147484300" r:id="rId5"/>
    <p:sldLayoutId id="2147484301" r:id="rId6"/>
    <p:sldLayoutId id="2147484302" r:id="rId7"/>
    <p:sldLayoutId id="2147484303" r:id="rId8"/>
    <p:sldLayoutId id="2147484304" r:id="rId9"/>
    <p:sldLayoutId id="2147484305" r:id="rId10"/>
    <p:sldLayoutId id="2147484306" r:id="rId11"/>
    <p:sldLayoutId id="2147484307" r:id="rId12"/>
    <p:sldLayoutId id="2147484308" r:id="rId13"/>
    <p:sldLayoutId id="2147484309" r:id="rId14"/>
    <p:sldLayoutId id="2147484310" r:id="rId15"/>
    <p:sldLayoutId id="2147484311" r:id="rId16"/>
    <p:sldLayoutId id="2147484312" r:id="rId17"/>
    <p:sldLayoutId id="2147484313" r:id="rId18"/>
    <p:sldLayoutId id="2147484314" r:id="rId19"/>
    <p:sldLayoutId id="2147484315" r:id="rId20"/>
    <p:sldLayoutId id="2147484316" r:id="rId21"/>
    <p:sldLayoutId id="2147484317" r:id="rId22"/>
    <p:sldLayoutId id="2147484318" r:id="rId23"/>
    <p:sldLayoutId id="2147484319" r:id="rId24"/>
    <p:sldLayoutId id="2147484320" r:id="rId25"/>
    <p:sldLayoutId id="2147484321" r:id="rId26"/>
    <p:sldLayoutId id="2147484322" r:id="rId27"/>
    <p:sldLayoutId id="2147484323" r:id="rId28"/>
    <p:sldLayoutId id="2147484324" r:id="rId2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E7F6">
            <a:alpha val="63921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>
                    <a:tint val="75000"/>
                  </a:prst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>
                    <a:tint val="75000"/>
                  </a:prst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>
                    <a:tint val="75000"/>
                  </a:prst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8DC22DB-864B-4D93-8D5C-03956CD6BA4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15077" name="Picture 9" descr="nebo26"/>
          <p:cNvPicPr>
            <a:picLocks noChangeAspect="1" noChangeArrowheads="1"/>
          </p:cNvPicPr>
          <p:nvPr/>
        </p:nvPicPr>
        <p:blipFill>
          <a:blip r:embed="rId18">
            <a:lum bright="58000" contrast="-70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078" name="Picture 9" descr="nebo26"/>
          <p:cNvPicPr>
            <a:picLocks noChangeAspect="1" noChangeArrowheads="1"/>
          </p:cNvPicPr>
          <p:nvPr/>
        </p:nvPicPr>
        <p:blipFill>
          <a:blip r:embed="rId18">
            <a:lum bright="58000" contrast="-70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079" name="Picture 3" descr="C:\Documents and Settings\ArkhangelskyVV\Рабочий стол\лого для корсовета.png"/>
          <p:cNvPicPr>
            <a:picLocks noChangeAspect="1" noChangeArrowheads="1"/>
          </p:cNvPicPr>
          <p:nvPr/>
        </p:nvPicPr>
        <p:blipFill>
          <a:blip r:embed="rId19"/>
          <a:srcRect l="25558" t="28371" r="30511" b="30888"/>
          <a:stretch>
            <a:fillRect/>
          </a:stretch>
        </p:blipFill>
        <p:spPr bwMode="auto">
          <a:xfrm>
            <a:off x="7308850" y="0"/>
            <a:ext cx="1835150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dk1" tx1="lt1" bg2="dk2" tx2="lt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  <p:sldLayoutId id="2147484284" r:id="rId9"/>
    <p:sldLayoutId id="2147484285" r:id="rId10"/>
    <p:sldLayoutId id="2147484286" r:id="rId11"/>
    <p:sldLayoutId id="2147484287" r:id="rId12"/>
    <p:sldLayoutId id="2147484288" r:id="rId13"/>
    <p:sldLayoutId id="2147484289" r:id="rId14"/>
    <p:sldLayoutId id="2147484290" r:id="rId15"/>
    <p:sldLayoutId id="2147484325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4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7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0.jpeg"/><Relationship Id="rId5" Type="http://schemas.openxmlformats.org/officeDocument/2006/relationships/image" Target="../media/image9.png"/><Relationship Id="rId4" Type="http://schemas.openxmlformats.org/officeDocument/2006/relationships/image" Target="../media/image4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51.jpeg"/><Relationship Id="rId7" Type="http://schemas.openxmlformats.org/officeDocument/2006/relationships/image" Target="../media/image5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2.jpeg"/><Relationship Id="rId5" Type="http://schemas.openxmlformats.org/officeDocument/2006/relationships/image" Target="../media/image9.png"/><Relationship Id="rId4" Type="http://schemas.openxmlformats.org/officeDocument/2006/relationships/image" Target="../media/image49.jpeg"/><Relationship Id="rId9" Type="http://schemas.openxmlformats.org/officeDocument/2006/relationships/image" Target="../media/image5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png"/><Relationship Id="rId4" Type="http://schemas.openxmlformats.org/officeDocument/2006/relationships/image" Target="../media/image5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hyperlink" Target="http://sovremenniki.ucoz.ru/_pu/1/26739735.jpg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6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10" Type="http://schemas.openxmlformats.org/officeDocument/2006/relationships/image" Target="../media/image9.pn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9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9.pn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145" name="Подзаголовок 1"/>
          <p:cNvSpPr txBox="1">
            <a:spLocks/>
          </p:cNvSpPr>
          <p:nvPr/>
        </p:nvSpPr>
        <p:spPr bwMode="auto">
          <a:xfrm>
            <a:off x="2149475" y="6221413"/>
            <a:ext cx="524351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ts val="600"/>
              </a:spcBef>
              <a:buClr>
                <a:schemeClr val="accent1"/>
              </a:buClr>
              <a:buFont typeface="Arial" charset="0"/>
              <a:buNone/>
            </a:pPr>
            <a:r>
              <a:rPr lang="ru-RU" sz="1400" b="1" dirty="0">
                <a:solidFill>
                  <a:srgbClr val="06436B"/>
                </a:solidFill>
                <a:cs typeface="Arial" charset="0"/>
              </a:rPr>
              <a:t>Крым, Феодосия, май 20</a:t>
            </a:r>
            <a:r>
              <a:rPr lang="en-US" sz="1400" b="1" dirty="0">
                <a:solidFill>
                  <a:srgbClr val="06436B"/>
                </a:solidFill>
                <a:cs typeface="Arial" charset="0"/>
              </a:rPr>
              <a:t>1</a:t>
            </a:r>
            <a:r>
              <a:rPr lang="ru-RU" sz="1400" b="1" dirty="0">
                <a:solidFill>
                  <a:srgbClr val="06436B"/>
                </a:solidFill>
                <a:cs typeface="Arial" charset="0"/>
              </a:rPr>
              <a:t>7 г.</a:t>
            </a:r>
          </a:p>
        </p:txBody>
      </p:sp>
      <p:sp>
        <p:nvSpPr>
          <p:cNvPr id="518146" name="Название 2"/>
          <p:cNvSpPr txBox="1">
            <a:spLocks/>
          </p:cNvSpPr>
          <p:nvPr/>
        </p:nvSpPr>
        <p:spPr bwMode="auto">
          <a:xfrm>
            <a:off x="1971675" y="1087438"/>
            <a:ext cx="6867525" cy="227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charset="0"/>
              </a:rPr>
              <a:t> </a:t>
            </a:r>
            <a:endParaRPr lang="ru-RU" sz="2000" b="1" dirty="0">
              <a:solidFill>
                <a:srgbClr val="FFFFFF"/>
              </a:solidFill>
              <a:cs typeface="Arial" charset="0"/>
            </a:endParaRPr>
          </a:p>
          <a:p>
            <a:pPr algn="ctr"/>
            <a:endParaRPr lang="ru-RU" sz="2000" b="1" dirty="0"/>
          </a:p>
          <a:p>
            <a:pPr algn="ctr"/>
            <a:endParaRPr lang="ru-RU" sz="2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интеграционных возможностей </a:t>
            </a:r>
            <a:r>
              <a:rPr lang="ru-RU" sz="2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тей с </a:t>
            </a:r>
            <a:r>
              <a:rPr lang="ru-RU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валидностью и их семей</a:t>
            </a:r>
          </a:p>
          <a:p>
            <a:pPr algn="ctr"/>
            <a:r>
              <a:rPr lang="ru-RU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орода </a:t>
            </a:r>
            <a:r>
              <a:rPr lang="ru-RU" sz="2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 </a:t>
            </a:r>
            <a:r>
              <a:rPr lang="ru-RU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к эффективное  партнерство  муниципалитета, </a:t>
            </a:r>
            <a:endParaRPr lang="ru-RU" sz="25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щественных </a:t>
            </a:r>
            <a:r>
              <a:rPr lang="ru-RU" sz="2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  и  НКО</a:t>
            </a:r>
            <a:r>
              <a:rPr lang="ru-RU" sz="25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2000" b="1" dirty="0">
                <a:solidFill>
                  <a:srgbClr val="FFFFFF"/>
                </a:solidFill>
                <a:cs typeface="Arial" charset="0"/>
              </a:rPr>
              <a:t/>
            </a:r>
            <a:br>
              <a:rPr lang="ru-RU" sz="2000" b="1" dirty="0">
                <a:solidFill>
                  <a:srgbClr val="FFFFFF"/>
                </a:solidFill>
                <a:cs typeface="Arial" charset="0"/>
              </a:rPr>
            </a:br>
            <a:endParaRPr lang="ru-RU" sz="2000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518147" name="Picture 8" descr="8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7200" y="1300163"/>
            <a:ext cx="1514475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8148" name="Заголовок 2"/>
          <p:cNvSpPr>
            <a:spLocks/>
          </p:cNvSpPr>
          <p:nvPr/>
        </p:nvSpPr>
        <p:spPr bwMode="auto">
          <a:xfrm>
            <a:off x="457200" y="3746500"/>
            <a:ext cx="8229600" cy="1420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r>
              <a:rPr lang="ru-RU" sz="1600" dirty="0">
                <a:solidFill>
                  <a:srgbClr val="FFFFFF"/>
                </a:solidFill>
                <a:latin typeface="Candara" pitchFamily="34" charset="0"/>
              </a:rPr>
              <a:t/>
            </a:r>
            <a:br>
              <a:rPr lang="ru-RU" sz="1600" dirty="0">
                <a:solidFill>
                  <a:srgbClr val="FFFFFF"/>
                </a:solidFill>
                <a:latin typeface="Candara" pitchFamily="34" charset="0"/>
              </a:rPr>
            </a:br>
            <a:r>
              <a:rPr lang="ru-RU" sz="1600" dirty="0">
                <a:solidFill>
                  <a:srgbClr val="FFFFFF"/>
                </a:solidFill>
                <a:latin typeface="Candara" pitchFamily="34" charset="0"/>
              </a:rPr>
              <a:t/>
            </a:r>
            <a:br>
              <a:rPr lang="ru-RU" sz="1600" dirty="0">
                <a:solidFill>
                  <a:srgbClr val="FFFFFF"/>
                </a:solidFill>
                <a:latin typeface="Candara" pitchFamily="34" charset="0"/>
              </a:rPr>
            </a:br>
            <a:r>
              <a:rPr lang="ru-RU" sz="1600" dirty="0">
                <a:solidFill>
                  <a:srgbClr val="FFFFFF"/>
                </a:solidFill>
                <a:latin typeface="Candara" pitchFamily="34" charset="0"/>
              </a:rPr>
              <a:t/>
            </a:r>
            <a:br>
              <a:rPr lang="ru-RU" sz="1600" dirty="0">
                <a:solidFill>
                  <a:srgbClr val="FFFFFF"/>
                </a:solidFill>
                <a:latin typeface="Candara" pitchFamily="34" charset="0"/>
              </a:rPr>
            </a:b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Candara" pitchFamily="34" charset="0"/>
              </a:rPr>
              <a:t>Мошкова Лариса Николаевна – </a:t>
            </a:r>
            <a:br>
              <a:rPr lang="ru-RU" sz="2000" b="1" dirty="0">
                <a:solidFill>
                  <a:schemeClr val="tx2">
                    <a:lumMod val="75000"/>
                  </a:schemeClr>
                </a:solidFill>
                <a:latin typeface="Candara" pitchFamily="34" charset="0"/>
              </a:rPr>
            </a:b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Candara" pitchFamily="34" charset="0"/>
              </a:rPr>
              <a:t>Председатель Комитета социальной политики</a:t>
            </a:r>
            <a:br>
              <a:rPr lang="ru-RU" sz="2000" b="1" dirty="0">
                <a:solidFill>
                  <a:schemeClr val="tx2">
                    <a:lumMod val="75000"/>
                  </a:schemeClr>
                </a:solidFill>
                <a:latin typeface="Candara" pitchFamily="34" charset="0"/>
              </a:rPr>
            </a:b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Candara" pitchFamily="34" charset="0"/>
              </a:rPr>
              <a:t> города Челябинска</a:t>
            </a:r>
          </a:p>
        </p:txBody>
      </p:sp>
      <p:pic>
        <p:nvPicPr>
          <p:cNvPr id="518149" name="Picture 12" descr="_14610688363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438" y="3357563"/>
            <a:ext cx="1931987" cy="1287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8150" name="Picture 14" descr="1320673864-main-0d7e86090213a0c6cfd9be625486105f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3375" y="4903788"/>
            <a:ext cx="2132013" cy="174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8151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33375" y="401638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409" name="Rectangle 2"/>
          <p:cNvSpPr>
            <a:spLocks noGrp="1"/>
          </p:cNvSpPr>
          <p:nvPr>
            <p:ph type="title"/>
          </p:nvPr>
        </p:nvSpPr>
        <p:spPr>
          <a:xfrm>
            <a:off x="1258888" y="338138"/>
            <a:ext cx="7427912" cy="1252537"/>
          </a:xfrm>
        </p:spPr>
        <p:txBody>
          <a:bodyPr/>
          <a:lstStyle/>
          <a:p>
            <a:pPr eaLnBrk="1" hangingPunct="1"/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ведомственный координационный совет </a:t>
            </a:r>
            <a:b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опросам детской инвалидности</a:t>
            </a:r>
            <a:endParaRPr lang="ru-RU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29410" name="Picture 5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192088" y="1682750"/>
            <a:ext cx="2133600" cy="1600200"/>
          </a:xfrm>
        </p:spPr>
      </p:pic>
      <p:pic>
        <p:nvPicPr>
          <p:cNvPr id="529411" name="Picture 9" descr="DSC0762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41500" y="2482850"/>
            <a:ext cx="1889125" cy="141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9412" name="Picture 12" descr="zasedanie-obshc_136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21463" y="4173538"/>
            <a:ext cx="2065337" cy="154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9413" name="Rectangle 13"/>
          <p:cNvSpPr>
            <a:spLocks/>
          </p:cNvSpPr>
          <p:nvPr/>
        </p:nvSpPr>
        <p:spPr bwMode="auto">
          <a:xfrm>
            <a:off x="3495675" y="1162050"/>
            <a:ext cx="5079320" cy="301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73050" indent="-27305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2000" dirty="0">
                <a:solidFill>
                  <a:schemeClr val="tx2"/>
                </a:solidFill>
                <a:latin typeface="Candara" pitchFamily="34" charset="0"/>
              </a:rPr>
              <a:t>     </a:t>
            </a:r>
          </a:p>
          <a:p>
            <a:pPr marL="273050" indent="-273050" algn="just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2000" dirty="0">
                <a:solidFill>
                  <a:schemeClr val="tx2"/>
                </a:solidFill>
                <a:latin typeface="Candara" pitchFamily="34" charset="0"/>
              </a:rPr>
              <a:t>    </a:t>
            </a:r>
            <a:r>
              <a:rPr lang="ru-RU" dirty="0">
                <a:solidFill>
                  <a:schemeClr val="tx2"/>
                </a:solidFill>
                <a:latin typeface="Candara" pitchFamily="34" charset="0"/>
              </a:rPr>
              <a:t> </a:t>
            </a:r>
          </a:p>
          <a:p>
            <a:pPr marL="273050" indent="-273050" algn="just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- постоянно действующий коллегиальный, совещательный орган, деятельность которого направлена на формирование и проведение в жизнь программ, планов и мероприятий по профилактике детской инвалидности, обеспечению социальной адаптации и реабилитации детей-инвалидов и их семей</a:t>
            </a:r>
          </a:p>
        </p:txBody>
      </p:sp>
      <p:pic>
        <p:nvPicPr>
          <p:cNvPr id="529414" name="Picture 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00063" y="477838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9416" name="Rectangle 13"/>
          <p:cNvSpPr>
            <a:spLocks/>
          </p:cNvSpPr>
          <p:nvPr/>
        </p:nvSpPr>
        <p:spPr bwMode="auto">
          <a:xfrm>
            <a:off x="0" y="3190875"/>
            <a:ext cx="6969125" cy="3476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73050" indent="-27305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2000" dirty="0">
                <a:solidFill>
                  <a:schemeClr val="tx2"/>
                </a:solidFill>
                <a:latin typeface="Candara" pitchFamily="34" charset="0"/>
              </a:rPr>
              <a:t>     </a:t>
            </a:r>
          </a:p>
          <a:p>
            <a:pPr marL="273050" indent="-273050" algn="just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2000" dirty="0">
                <a:solidFill>
                  <a:schemeClr val="tx2"/>
                </a:solidFill>
                <a:latin typeface="Candara" pitchFamily="34" charset="0"/>
              </a:rPr>
              <a:t>    </a:t>
            </a:r>
            <a:r>
              <a:rPr lang="ru-RU" dirty="0">
                <a:solidFill>
                  <a:schemeClr val="tx2"/>
                </a:solidFill>
                <a:latin typeface="Candara" pitchFamily="34" charset="0"/>
              </a:rPr>
              <a:t> </a:t>
            </a:r>
          </a:p>
          <a:p>
            <a:pPr marL="273050" indent="-27305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1650" dirty="0">
                <a:solidFill>
                  <a:schemeClr val="tx2"/>
                </a:solidFill>
                <a:latin typeface="Candara" pitchFamily="34" charset="0"/>
              </a:rPr>
              <a:t>     </a:t>
            </a:r>
            <a:r>
              <a:rPr lang="ru-RU" sz="1650" dirty="0">
                <a:solidFill>
                  <a:schemeClr val="tx2"/>
                </a:solidFill>
              </a:rPr>
              <a:t> </a:t>
            </a:r>
            <a:r>
              <a:rPr lang="ru-RU" sz="1650" dirty="0"/>
              <a:t> </a:t>
            </a: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ав координационного совета:  </a:t>
            </a:r>
          </a:p>
          <a:p>
            <a:pPr marL="273050" indent="-27305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- руководители и представители органов социальной защиты населения, </a:t>
            </a:r>
          </a:p>
          <a:p>
            <a:pPr marL="273050" indent="-27305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- руководители и представители органов здравоохранения, </a:t>
            </a:r>
          </a:p>
          <a:p>
            <a:pPr marL="273050" indent="-27305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- руководители и представители органов образования, </a:t>
            </a:r>
            <a:endParaRPr lang="ru-RU" sz="165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1113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 руководители </a:t>
            </a: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представители органов культуры,</a:t>
            </a:r>
          </a:p>
          <a:p>
            <a:pPr marL="171450" indent="-11113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 </a:t>
            </a: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и и представители органов физической культуры и спорта,</a:t>
            </a:r>
          </a:p>
          <a:p>
            <a:pPr marL="273050" indent="-27305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- руководители   общественных объединений и </a:t>
            </a:r>
            <a:r>
              <a:rPr lang="ru-RU" sz="16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</a:t>
            </a: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marL="273050" indent="-27305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16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- представители </a:t>
            </a:r>
            <a:r>
              <a:rPr lang="ru-RU" sz="16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УЗов</a:t>
            </a:r>
            <a:endParaRPr lang="ru-RU" sz="16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43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учреждение 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ого обслуживания города Челябинска 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Социально-реабилитационный центр для детей 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подростков с ограниченными возможностями «Здоровье»</a:t>
            </a:r>
            <a:endParaRPr lang="ru-RU" sz="4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0434" name="Rectangle 3"/>
          <p:cNvSpPr>
            <a:spLocks noGrp="1"/>
          </p:cNvSpPr>
          <p:nvPr>
            <p:ph type="body" idx="1"/>
          </p:nvPr>
        </p:nvSpPr>
        <p:spPr>
          <a:xfrm>
            <a:off x="348343" y="2039938"/>
            <a:ext cx="8226652" cy="3451225"/>
          </a:xfrm>
        </p:spPr>
        <p:txBody>
          <a:bodyPr/>
          <a:lstStyle/>
          <a:p>
            <a:pPr indent="350838" algn="just" eaLnBrk="1" hangingPunct="1">
              <a:buFont typeface="Symbol" pitchFamily="18" charset="2"/>
              <a:buNone/>
            </a:pPr>
            <a:r>
              <a:rPr lang="ru-RU" dirty="0" smtClean="0"/>
              <a:t>   </a:t>
            </a:r>
          </a:p>
          <a:p>
            <a:pPr indent="350838" algn="just" eaLnBrk="1" hangingPunct="1">
              <a:buFont typeface="Symbol" pitchFamily="18" charset="2"/>
              <a:buNone/>
            </a:pPr>
            <a:r>
              <a:rPr lang="ru-RU" dirty="0" smtClean="0"/>
              <a:t>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метом деятельности учреждения является комплексное социальное обслуживание детей и подростков с ограниченными возможностями и детей, имеющих хроническую, соматическую патологию и состоящих на диспансерном учете, а также работа с их семьями. Ежегодно реабилитацию в Центре проходят 900 детей.</a:t>
            </a:r>
          </a:p>
        </p:txBody>
      </p:sp>
      <p:pic>
        <p:nvPicPr>
          <p:cNvPr id="530435" name="Picture 5" descr="phoca_thumb_l_20160121_10212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7200" y="4481513"/>
            <a:ext cx="2112963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0436" name="Picture 7" descr="phoca_thumb_l_dsc_238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55838" y="4802188"/>
            <a:ext cx="2579687" cy="172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0437" name="Picture 13" descr="phoca_thumb_l_20160203_14445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10113" y="4481513"/>
            <a:ext cx="2052637" cy="153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0438" name="Picture 14" descr="phoca_thumb_l_dsc_2390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535738" y="5041900"/>
            <a:ext cx="2414587" cy="161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0439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92125" y="338138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</a:p>
        </p:txBody>
      </p:sp>
      <p:pic>
        <p:nvPicPr>
          <p:cNvPr id="10" name="Picture 2" descr="F:\фото для презентации газизова\logo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6779" y="1696357"/>
            <a:ext cx="2928938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457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401422" y="381000"/>
            <a:ext cx="7458075" cy="1500187"/>
          </a:xfrm>
        </p:spPr>
        <p:txBody>
          <a:bodyPr/>
          <a:lstStyle/>
          <a:p>
            <a:pPr eaLnBrk="1" hangingPunct="1"/>
            <a:r>
              <a:rPr lang="ru-RU" sz="2000" dirty="0" smtClean="0">
                <a:solidFill>
                  <a:srgbClr val="003B9A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dirty="0" smtClean="0">
                <a:solidFill>
                  <a:srgbClr val="003B9A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 Проект «Шаг навстречу»  (с 2015 года)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ОТДЕЛЕНИЕ РАННЕГО ВМЕШАТЕЛЬСТВА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</a:br>
            <a:endParaRPr lang="ru-RU" sz="23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  <p:sp>
        <p:nvSpPr>
          <p:cNvPr id="531458" name="Содержимое 2"/>
          <p:cNvSpPr>
            <a:spLocks noGrp="1"/>
          </p:cNvSpPr>
          <p:nvPr>
            <p:ph idx="4294967295"/>
          </p:nvPr>
        </p:nvSpPr>
        <p:spPr>
          <a:xfrm>
            <a:off x="4748213" y="1790700"/>
            <a:ext cx="3886200" cy="2465388"/>
          </a:xfrm>
        </p:spPr>
        <p:txBody>
          <a:bodyPr/>
          <a:lstStyle/>
          <a:p>
            <a:pPr marL="174625" indent="0" eaLnBrk="1" hangingPunct="1">
              <a:buFont typeface="Wingdings 2" pitchFamily="18" charset="2"/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Целевая группа проекта – дети с инвалидностью, дети с ограниченными возможностями здоровья от рождения до 3-х лет, воспитывающиеся в семьях, в том числе в приемной и замещающей</a:t>
            </a:r>
          </a:p>
        </p:txBody>
      </p:sp>
      <p:pic>
        <p:nvPicPr>
          <p:cNvPr id="531459" name="Содержимое 10" descr="http://www.puregoodness.net/wp-content/uploads/2012/04/Screen-shot-2012-04-24-at-5.21.02-PM.png"/>
          <p:cNvPicPr>
            <a:picLocks/>
          </p:cNvPicPr>
          <p:nvPr/>
        </p:nvPicPr>
        <p:blipFill>
          <a:blip r:embed="rId2">
            <a:lum bright="30000"/>
          </a:blip>
          <a:srcRect/>
          <a:stretch>
            <a:fillRect/>
          </a:stretch>
        </p:blipFill>
        <p:spPr bwMode="auto">
          <a:xfrm>
            <a:off x="5045075" y="4410075"/>
            <a:ext cx="3348038" cy="187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1460" name="Picture 2" descr="F:\фото для презентации газизова\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4511" y="1741487"/>
            <a:ext cx="2928938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1461" name="Рисунок 6" descr="ЮУрГПУ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57600" y="2940941"/>
            <a:ext cx="916216" cy="1169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1462" name="Picture 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04800" y="381000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1463" name="Picture 11" descr="C:\Users\1\Desktop\Выступление\fOND_PODDERGHKI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638980" y="2299446"/>
            <a:ext cx="1865652" cy="1361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1464" name="Содержимое 2"/>
          <p:cNvSpPr>
            <a:spLocks/>
          </p:cNvSpPr>
          <p:nvPr/>
        </p:nvSpPr>
        <p:spPr bwMode="auto">
          <a:xfrm>
            <a:off x="455613" y="3660775"/>
            <a:ext cx="3886200" cy="246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88900" indent="-1588">
              <a:spcBef>
                <a:spcPct val="20000"/>
              </a:spcBef>
              <a:buClr>
                <a:schemeClr val="accent1"/>
              </a:buClr>
              <a:buSzPct val="100000"/>
              <a:buFont typeface="Wingdings 2" pitchFamily="18" charset="2"/>
              <a:buNone/>
            </a:pPr>
            <a:r>
              <a:rPr lang="ru-RU" sz="1400" b="1" dirty="0">
                <a:solidFill>
                  <a:srgbClr val="052E65"/>
                </a:solidFill>
                <a:latin typeface="Candara" pitchFamily="34" charset="0"/>
                <a:cs typeface="Times New Roman" pitchFamily="18" charset="0"/>
              </a:rPr>
              <a:t>	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Шаг навстречу» </a:t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ыл  отобран из 365 проектов для финансовой поддержки Фондом. Сроки реализации проекта при поддержке гранта: 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8900" indent="-1588">
              <a:spcBef>
                <a:spcPct val="20000"/>
              </a:spcBef>
              <a:buClr>
                <a:schemeClr val="accent1"/>
              </a:buClr>
              <a:buSzPct val="100000"/>
              <a:buFont typeface="Wingdings 2" pitchFamily="18" charset="2"/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преля 2017 г.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0 сентября 2018 г.</a:t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81" name="Rectangle 3"/>
          <p:cNvSpPr>
            <a:spLocks noGrp="1"/>
          </p:cNvSpPr>
          <p:nvPr>
            <p:ph type="body" idx="4294967295"/>
          </p:nvPr>
        </p:nvSpPr>
        <p:spPr>
          <a:xfrm>
            <a:off x="1360093" y="1317682"/>
            <a:ext cx="3547263" cy="3042444"/>
          </a:xfrm>
        </p:spPr>
        <p:txBody>
          <a:bodyPr/>
          <a:lstStyle/>
          <a:p>
            <a:pPr algn="ctr" eaLnBrk="1" hangingPunct="1">
              <a:lnSpc>
                <a:spcPct val="80000"/>
              </a:lnSpc>
              <a:buFont typeface="Wingdings 2" pitchFamily="18" charset="2"/>
              <a:buNone/>
            </a:pPr>
            <a:endParaRPr lang="ru-RU" sz="500" b="1" dirty="0" smtClean="0">
              <a:solidFill>
                <a:srgbClr val="003399"/>
              </a:solidFill>
              <a:latin typeface="Times New Roman" pitchFamily="18" charset="0"/>
            </a:endParaRPr>
          </a:p>
          <a:p>
            <a:pPr algn="ctr" eaLnBrk="1" hangingPunct="1">
              <a:lnSpc>
                <a:spcPct val="80000"/>
              </a:lnSpc>
              <a:buFont typeface="Wingdings 2" pitchFamily="18" charset="2"/>
              <a:buNone/>
            </a:pPr>
            <a:endParaRPr lang="ru-RU" sz="500" b="1" dirty="0" smtClean="0">
              <a:solidFill>
                <a:srgbClr val="003399"/>
              </a:solidFill>
              <a:latin typeface="Times New Roman" pitchFamily="18" charset="0"/>
            </a:endParaRPr>
          </a:p>
          <a:p>
            <a:pPr algn="ctr" eaLnBrk="1" hangingPunct="1">
              <a:lnSpc>
                <a:spcPct val="80000"/>
              </a:lnSpc>
              <a:buFont typeface="Wingdings 2" pitchFamily="18" charset="2"/>
              <a:buNone/>
            </a:pPr>
            <a:endParaRPr lang="ru-RU" sz="400" b="1" dirty="0" smtClean="0">
              <a:solidFill>
                <a:srgbClr val="003399"/>
              </a:solidFill>
              <a:latin typeface="Times New Roman" pitchFamily="18" charset="0"/>
            </a:endParaRPr>
          </a:p>
          <a:p>
            <a:pPr algn="r"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ru-RU" sz="17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во взаимодействии с Челябинским государственным педагогическим университетом</a:t>
            </a:r>
          </a:p>
          <a:p>
            <a:pPr algn="r"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ru-RU" sz="17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7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жировочной</a:t>
            </a:r>
            <a:r>
              <a:rPr lang="ru-RU" sz="17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лощадки</a:t>
            </a:r>
          </a:p>
          <a:p>
            <a:pPr algn="r"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ru-RU" sz="17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ля повышения профессиональных компетенций специалистов, в том числе работающих с детьми с ОВЗ от рождения до 3 лет </a:t>
            </a:r>
          </a:p>
        </p:txBody>
      </p:sp>
      <p:pic>
        <p:nvPicPr>
          <p:cNvPr id="532482" name="Picture 2" descr="F:\фото для презентации газизова\logo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7768" y="782637"/>
            <a:ext cx="2928938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483" name="Picture 6" descr="аншкншкенш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244" y="3113881"/>
            <a:ext cx="1658938" cy="12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484" name="Rectangle 8"/>
          <p:cNvSpPr>
            <a:spLocks noChangeArrowheads="1"/>
          </p:cNvSpPr>
          <p:nvPr/>
        </p:nvSpPr>
        <p:spPr bwMode="auto">
          <a:xfrm>
            <a:off x="1871663" y="333375"/>
            <a:ext cx="65966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</a:rPr>
              <a:t>План реализации </a:t>
            </a:r>
            <a:r>
              <a:rPr lang="ru-RU" sz="2400" b="1" dirty="0" smtClean="0">
                <a:latin typeface="Times New Roman" pitchFamily="18" charset="0"/>
              </a:rPr>
              <a:t>проекта «Шаг навстречу»</a:t>
            </a:r>
            <a:endParaRPr lang="ru-RU" sz="2400" b="1" dirty="0">
              <a:latin typeface="Times New Roman" pitchFamily="18" charset="0"/>
            </a:endParaRPr>
          </a:p>
        </p:txBody>
      </p:sp>
      <p:pic>
        <p:nvPicPr>
          <p:cNvPr id="532485" name="Рисунок 6" descr="ЮУрГПУ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13102" y="1890134"/>
            <a:ext cx="906463" cy="115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486" name="Picture 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4163" y="333375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487" name="Rectangle 2"/>
          <p:cNvSpPr>
            <a:spLocks noChangeArrowheads="1"/>
          </p:cNvSpPr>
          <p:nvPr/>
        </p:nvSpPr>
        <p:spPr bwMode="auto">
          <a:xfrm>
            <a:off x="5124450" y="995791"/>
            <a:ext cx="3641725" cy="2042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добровольческог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зерва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овольцы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лекаются к деятельности по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ьюторскому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опровождению, проведению коррекционно-развивающих занятий. 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научно-практических конференций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298" name="Picture 10" descr="phoca_thumb_l_img_823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907356" y="3111037"/>
            <a:ext cx="2198258" cy="14620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32489" name="Picture 4" descr="\\comp1\Обмен Главный\фотографии 2016\студенты\P4210016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258050" y="3056495"/>
            <a:ext cx="1508125" cy="1154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490" name="Rectangle 3"/>
          <p:cNvSpPr>
            <a:spLocks/>
          </p:cNvSpPr>
          <p:nvPr/>
        </p:nvSpPr>
        <p:spPr bwMode="auto">
          <a:xfrm>
            <a:off x="5169966" y="4347077"/>
            <a:ext cx="3348038" cy="849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73050" indent="-273050"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00000"/>
              <a:buFont typeface="Wingdings 2" pitchFamily="18" charset="2"/>
              <a:buNone/>
            </a:pPr>
            <a:endParaRPr lang="ru-RU" b="1" dirty="0">
              <a:solidFill>
                <a:srgbClr val="003399"/>
              </a:solidFill>
              <a:latin typeface="Times New Roman" pitchFamily="18" charset="0"/>
            </a:endParaRPr>
          </a:p>
          <a:p>
            <a:pPr marL="273050" indent="-273050"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00000"/>
              <a:buFont typeface="Wingdings 2" pitchFamily="18" charset="2"/>
              <a:buNone/>
            </a:pPr>
            <a:r>
              <a:rPr lang="ru-RU" sz="1600" b="1" dirty="0">
                <a:latin typeface="Times New Roman" pitchFamily="18" charset="0"/>
              </a:rPr>
              <a:t>Организация деятельности родительского клуба </a:t>
            </a:r>
          </a:p>
        </p:txBody>
      </p:sp>
      <p:pic>
        <p:nvPicPr>
          <p:cNvPr id="46088" name="Picture 8" descr="вкеаргвено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462689" y="4853221"/>
            <a:ext cx="1229850" cy="16408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087" name="Picture 2" descr="E:\День матери 2016 3-мероприятия\DSC09390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884337" y="5098784"/>
            <a:ext cx="2583932" cy="14524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5062" name="Oval 6"/>
          <p:cNvSpPr>
            <a:spLocks noChangeArrowheads="1"/>
          </p:cNvSpPr>
          <p:nvPr/>
        </p:nvSpPr>
        <p:spPr bwMode="auto">
          <a:xfrm>
            <a:off x="2016125" y="3984625"/>
            <a:ext cx="1292225" cy="690563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800" b="1">
                <a:solidFill>
                  <a:schemeClr val="tx2"/>
                </a:solidFill>
                <a:latin typeface="Arial" charset="0"/>
              </a:rPr>
              <a:t>Телесноориентированная </a:t>
            </a:r>
          </a:p>
          <a:p>
            <a:pPr algn="ctr">
              <a:defRPr/>
            </a:pPr>
            <a:r>
              <a:rPr lang="ru-RU" sz="800" b="1">
                <a:solidFill>
                  <a:schemeClr val="tx2"/>
                </a:solidFill>
                <a:latin typeface="Arial" charset="0"/>
              </a:rPr>
              <a:t>терапия</a:t>
            </a:r>
          </a:p>
        </p:txBody>
      </p:sp>
      <p:sp>
        <p:nvSpPr>
          <p:cNvPr id="45065" name="Oval 9"/>
          <p:cNvSpPr>
            <a:spLocks noChangeArrowheads="1"/>
          </p:cNvSpPr>
          <p:nvPr/>
        </p:nvSpPr>
        <p:spPr bwMode="auto">
          <a:xfrm>
            <a:off x="2266300" y="4895911"/>
            <a:ext cx="873447" cy="830862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000" b="1">
                <a:solidFill>
                  <a:schemeClr val="tx2"/>
                </a:solidFill>
                <a:latin typeface="Arial" charset="0"/>
              </a:rPr>
              <a:t>Технологии</a:t>
            </a:r>
          </a:p>
          <a:p>
            <a:pPr algn="ctr">
              <a:defRPr/>
            </a:pPr>
            <a:r>
              <a:rPr lang="ru-RU" sz="1000" b="1">
                <a:solidFill>
                  <a:schemeClr val="tx2"/>
                </a:solidFill>
                <a:latin typeface="Arial" charset="0"/>
              </a:rPr>
              <a:t> работы</a:t>
            </a:r>
          </a:p>
        </p:txBody>
      </p:sp>
      <p:sp>
        <p:nvSpPr>
          <p:cNvPr id="45066" name="Oval 10"/>
          <p:cNvSpPr>
            <a:spLocks noChangeArrowheads="1"/>
          </p:cNvSpPr>
          <p:nvPr/>
        </p:nvSpPr>
        <p:spPr bwMode="auto">
          <a:xfrm>
            <a:off x="2016125" y="6080125"/>
            <a:ext cx="1400175" cy="581025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000" b="1">
                <a:solidFill>
                  <a:srgbClr val="000000"/>
                </a:solidFill>
                <a:latin typeface="Arial" charset="0"/>
              </a:rPr>
              <a:t>Музыкотерапия</a:t>
            </a:r>
          </a:p>
        </p:txBody>
      </p:sp>
      <p:sp>
        <p:nvSpPr>
          <p:cNvPr id="45061" name="Oval 5"/>
          <p:cNvSpPr>
            <a:spLocks noChangeArrowheads="1"/>
          </p:cNvSpPr>
          <p:nvPr/>
        </p:nvSpPr>
        <p:spPr bwMode="auto">
          <a:xfrm>
            <a:off x="874713" y="4603750"/>
            <a:ext cx="1185862" cy="827088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000" b="1">
                <a:solidFill>
                  <a:schemeClr val="tx2"/>
                </a:solidFill>
                <a:latin typeface="Arial" charset="0"/>
              </a:rPr>
              <a:t>Домашнее </a:t>
            </a:r>
          </a:p>
          <a:p>
            <a:pPr algn="ctr">
              <a:defRPr/>
            </a:pPr>
            <a:r>
              <a:rPr lang="ru-RU" sz="1000" b="1">
                <a:solidFill>
                  <a:schemeClr val="tx2"/>
                </a:solidFill>
                <a:latin typeface="Arial" charset="0"/>
              </a:rPr>
              <a:t>визитирование</a:t>
            </a:r>
          </a:p>
        </p:txBody>
      </p:sp>
      <p:sp>
        <p:nvSpPr>
          <p:cNvPr id="45063" name="Oval 7"/>
          <p:cNvSpPr>
            <a:spLocks noChangeArrowheads="1"/>
          </p:cNvSpPr>
          <p:nvPr/>
        </p:nvSpPr>
        <p:spPr bwMode="auto">
          <a:xfrm>
            <a:off x="874713" y="5673725"/>
            <a:ext cx="1311275" cy="696913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800" b="1">
                <a:solidFill>
                  <a:schemeClr val="tx2"/>
                </a:solidFill>
                <a:latin typeface="Arial" charset="0"/>
              </a:rPr>
              <a:t>Психо- коррекционная </a:t>
            </a:r>
          </a:p>
          <a:p>
            <a:pPr algn="ctr">
              <a:defRPr/>
            </a:pPr>
            <a:r>
              <a:rPr lang="ru-RU" sz="800" b="1">
                <a:solidFill>
                  <a:schemeClr val="tx2"/>
                </a:solidFill>
                <a:latin typeface="Arial" charset="0"/>
              </a:rPr>
              <a:t>методика</a:t>
            </a:r>
          </a:p>
        </p:txBody>
      </p:sp>
      <p:sp>
        <p:nvSpPr>
          <p:cNvPr id="45067" name="Oval 11"/>
          <p:cNvSpPr>
            <a:spLocks noChangeArrowheads="1"/>
          </p:cNvSpPr>
          <p:nvPr/>
        </p:nvSpPr>
        <p:spPr bwMode="auto">
          <a:xfrm>
            <a:off x="3227388" y="4603750"/>
            <a:ext cx="1228725" cy="71120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000" b="1">
                <a:solidFill>
                  <a:schemeClr val="tx2"/>
                </a:solidFill>
                <a:latin typeface="Arial" charset="0"/>
              </a:rPr>
              <a:t>«Иппотерапия»</a:t>
            </a:r>
          </a:p>
        </p:txBody>
      </p:sp>
      <p:sp>
        <p:nvSpPr>
          <p:cNvPr id="45064" name="Oval 8"/>
          <p:cNvSpPr>
            <a:spLocks noChangeArrowheads="1"/>
          </p:cNvSpPr>
          <p:nvPr/>
        </p:nvSpPr>
        <p:spPr bwMode="auto">
          <a:xfrm>
            <a:off x="3133725" y="5508625"/>
            <a:ext cx="1322388" cy="623888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sz="1000" b="1">
                <a:solidFill>
                  <a:schemeClr val="tx2"/>
                </a:solidFill>
                <a:latin typeface="Arial" charset="0"/>
              </a:rPr>
              <a:t>Арт-терапия</a:t>
            </a:r>
          </a:p>
        </p:txBody>
      </p:sp>
      <p:sp>
        <p:nvSpPr>
          <p:cNvPr id="21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3505" name="Picture 2" descr="C:\Users\user\Desktop\raduga004.jpg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lum bright="20000"/>
          </a:blip>
          <a:srcRect/>
          <a:stretch>
            <a:fillRect/>
          </a:stretch>
        </p:blipFill>
        <p:spPr>
          <a:xfrm>
            <a:off x="635000" y="2520950"/>
            <a:ext cx="4465638" cy="3760788"/>
          </a:xfr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1785938" y="3714750"/>
            <a:ext cx="7137400" cy="2786063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3100" dirty="0">
              <a:solidFill>
                <a:schemeClr val="tx2">
                  <a:satMod val="130000"/>
                </a:schemeClr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533507" name="Picture 2" descr="F:\фото для презентации газизова\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8631" y="1782454"/>
            <a:ext cx="2585584" cy="738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47886" y="2667000"/>
            <a:ext cx="4975453" cy="3055938"/>
          </a:xfrm>
        </p:spPr>
        <p:txBody>
          <a:bodyPr/>
          <a:lstStyle/>
          <a:p>
            <a:pPr eaLnBrk="1" hangingPunct="1">
              <a:defRPr/>
            </a:pPr>
            <a:r>
              <a:rPr lang="ru-RU" sz="49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49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Целевая группа проекта - </a:t>
            </a:r>
            <a:b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дети города Челябинска </a:t>
            </a:r>
            <a:b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с расстройствами аутистического спектра, их родители и законные представители</a:t>
            </a: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5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3000" dirty="0" smtClean="0">
                <a:solidFill>
                  <a:srgbClr val="6D2B1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/>
            </a:r>
            <a:br>
              <a:rPr lang="ru-RU" sz="3000" dirty="0" smtClean="0">
                <a:solidFill>
                  <a:srgbClr val="6D2B1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endParaRPr lang="ru-RU" sz="3000" dirty="0" smtClean="0">
              <a:solidFill>
                <a:srgbClr val="6D2B19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0" name="Picture 2" descr="C:\Users\user\Desktop\Методическое пособие\фото презентация\20160711_111442 - копия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81820" y="339725"/>
            <a:ext cx="1606339" cy="22859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33510" name="Picture 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4163" y="333375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1401423" y="381000"/>
            <a:ext cx="5380398" cy="1101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Проект «Радуга дождя»  (с 2016 года)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</a:br>
            <a:endParaRPr lang="ru-RU" sz="23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785938" y="3714750"/>
            <a:ext cx="7137400" cy="2786063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3100" dirty="0">
              <a:solidFill>
                <a:schemeClr val="tx2">
                  <a:satMod val="130000"/>
                </a:schemeClr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534530" name="Picture 2" descr="F:\фото для презентации газизова\logo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87905" y="1726069"/>
            <a:ext cx="2996066" cy="85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928688" y="945245"/>
            <a:ext cx="7858125" cy="5179330"/>
          </a:xfrm>
        </p:spPr>
        <p:txBody>
          <a:bodyPr>
            <a:normAutofit/>
          </a:bodyPr>
          <a:lstStyle/>
          <a:p>
            <a:pPr indent="2336800" algn="r" eaLnBrk="1" hangingPunct="1">
              <a:defRPr/>
            </a:pP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- коррекция стереотипов мышления о непреодолимости ограничений физического и психологического здоровья; выявление творческого потенциала детей с ОВЗ путем инклюзивного включения детей в разнообразные виды деятельности</a:t>
            </a:r>
            <a:r>
              <a:rPr lang="ru-RU" sz="3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500" dirty="0" smtClean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34532" name="Рисунок 7" descr="От_сердца_к_сердцу2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44453" y="4167740"/>
            <a:ext cx="2836750" cy="2542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4533" name="Picture 9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5288" y="333375"/>
            <a:ext cx="774149" cy="916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1154113" y="333375"/>
            <a:ext cx="7017430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2000" dirty="0" smtClean="0">
                <a:solidFill>
                  <a:srgbClr val="003B9A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dirty="0" smtClean="0">
                <a:solidFill>
                  <a:srgbClr val="003B9A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 Проект «От сердца к сердцу»  (с 2016 года)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/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</a:br>
            <a:endParaRPr lang="ru-RU" sz="23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1401422" y="381000"/>
            <a:ext cx="7458075" cy="869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2000" dirty="0" smtClean="0">
                <a:solidFill>
                  <a:srgbClr val="003B9A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dirty="0" smtClean="0">
                <a:solidFill>
                  <a:srgbClr val="003B9A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 Технология домашнего визитирования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</a:br>
            <a:endParaRPr lang="ru-RU" sz="23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  <p:pic>
        <p:nvPicPr>
          <p:cNvPr id="3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288" y="333375"/>
            <a:ext cx="774149" cy="916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F:\фото для презентации газизова\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11664" y="983190"/>
            <a:ext cx="2996066" cy="85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52265" y="2177427"/>
            <a:ext cx="8022730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3538" algn="just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анная технология внедряется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базе Центра «Здоровье» 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с 2002 года:</a:t>
            </a:r>
          </a:p>
          <a:p>
            <a:pPr indent="363538" algn="just"/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ремя домашнего визита родители являются непосредственными участниками коррекционного взаимодействия с ребенком, они не только наблюдают за тем, какие приемы стимульного и развивающего характера используют специалисты, но и сами включаются в работу. Специалист, в свою очередь, имеет возможность 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блюдать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к общаются и взаимодействуют родитель с ребенком в естественной, привычной для них обстановке. </a:t>
            </a:r>
          </a:p>
        </p:txBody>
      </p:sp>
    </p:spTree>
    <p:extLst>
      <p:ext uri="{BB962C8B-B14F-4D97-AF65-F5344CB8AC3E}">
        <p14:creationId xmlns:p14="http://schemas.microsoft.com/office/powerpoint/2010/main" val="4286687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55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Спасибо за внимание!</a:t>
            </a:r>
          </a:p>
        </p:txBody>
      </p:sp>
      <p:pic>
        <p:nvPicPr>
          <p:cNvPr id="535554" name="Рисунок 9" descr="http://sovremenniki.ucoz.ru/_pu/1/s26739735.jpg">
            <a:hlinkClick r:id="rId2" tooltip="&quot;Нажмите, для просмотра в полном размере...&quot;"/>
          </p:cNvPr>
          <p:cNvPicPr>
            <a:picLocks noGrp="1" noChangeAspect="1" noChangeArrowheads="1"/>
          </p:cNvPicPr>
          <p:nvPr>
            <p:ph type="body" idx="1"/>
          </p:nvPr>
        </p:nvPicPr>
        <p:blipFill>
          <a:blip r:embed="rId3"/>
          <a:srcRect/>
          <a:stretch>
            <a:fillRect/>
          </a:stretch>
        </p:blipFill>
        <p:spPr>
          <a:xfrm>
            <a:off x="338138" y="2936875"/>
            <a:ext cx="3040062" cy="3451225"/>
          </a:xfrm>
        </p:spPr>
      </p:pic>
      <p:pic>
        <p:nvPicPr>
          <p:cNvPr id="8" name="Picture 2" descr="Y:\EVERYCHILD СПб\ПРОГРАММНЫЙ ОТДЕЛ\RESPITE CARE\PR материалы\буклет\Фото для буклета\обложка.JPG"/>
          <p:cNvPicPr>
            <a:picLocks noChangeAspect="1" noChangeArrowheads="1"/>
          </p:cNvPicPr>
          <p:nvPr/>
        </p:nvPicPr>
        <p:blipFill>
          <a:blip r:embed="rId4" cstate="print">
            <a:grayscl/>
          </a:blip>
          <a:stretch>
            <a:fillRect/>
          </a:stretch>
        </p:blipFill>
        <p:spPr>
          <a:xfrm>
            <a:off x="4462063" y="3482682"/>
            <a:ext cx="3932238" cy="2622843"/>
          </a:xfrm>
          <a:prstGeom prst="round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35556" name="Название 2"/>
          <p:cNvSpPr txBox="1">
            <a:spLocks/>
          </p:cNvSpPr>
          <p:nvPr/>
        </p:nvSpPr>
        <p:spPr bwMode="auto">
          <a:xfrm>
            <a:off x="457200" y="627063"/>
            <a:ext cx="8018463" cy="192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ts val="400"/>
              </a:spcBef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ра и благополучия Вам и Вашим семьям, коллеги!</a:t>
            </a:r>
          </a:p>
        </p:txBody>
      </p:sp>
      <p:pic>
        <p:nvPicPr>
          <p:cNvPr id="535557" name="Picture 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4163" y="333375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193" name="Содержимое 1"/>
          <p:cNvSpPr>
            <a:spLocks noGrp="1"/>
          </p:cNvSpPr>
          <p:nvPr>
            <p:ph idx="1"/>
          </p:nvPr>
        </p:nvSpPr>
        <p:spPr>
          <a:xfrm>
            <a:off x="282574" y="1494971"/>
            <a:ext cx="8629649" cy="3781879"/>
          </a:xfrm>
        </p:spPr>
        <p:txBody>
          <a:bodyPr/>
          <a:lstStyle/>
          <a:p>
            <a:pPr eaLnBrk="1" hangingPunct="1">
              <a:buFont typeface="Symbol" pitchFamily="18" charset="2"/>
              <a:buNone/>
            </a:pPr>
            <a:endParaRPr lang="ru-RU" sz="1600" dirty="0" smtClean="0"/>
          </a:p>
          <a:p>
            <a:pPr marL="0" indent="0" algn="just" eaLnBrk="1" hangingPunct="1">
              <a:buNone/>
            </a:pPr>
            <a:r>
              <a:rPr lang="ru-RU" sz="1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материальные трудности, так как по данным официальной статистики расходы на больного ребенка в 3 раза выше, чем на здорового;</a:t>
            </a:r>
          </a:p>
          <a:p>
            <a:pPr algn="just" eaLnBrk="1" hangingPunct="1">
              <a:buFontTx/>
              <a:buChar char="-"/>
            </a:pPr>
            <a:endParaRPr lang="ru-RU" sz="7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 eaLnBrk="1" hangingPunct="1">
              <a:buNone/>
            </a:pPr>
            <a:r>
              <a:rPr lang="ru-RU" sz="1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высокая социальная зависимость, вынужденная изоляция детей-инвалидов в связи с нерешенностью проблем формирования доступной среды в целом для инвалидов во всех сферах жизнедеятельности;</a:t>
            </a:r>
          </a:p>
          <a:p>
            <a:pPr marL="0" indent="0" algn="just" eaLnBrk="1" hangingPunct="1">
              <a:buNone/>
            </a:pPr>
            <a:endParaRPr lang="ru-RU" sz="7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 eaLnBrk="1" hangingPunct="1">
              <a:buNone/>
            </a:pPr>
            <a:r>
              <a:rPr lang="ru-RU" sz="1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равнодушное отношение в массовом сознании («</a:t>
            </a:r>
            <a:r>
              <a:rPr lang="ru-RU" sz="1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ношенческие</a:t>
            </a:r>
            <a:r>
              <a:rPr lang="ru-RU" sz="1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барьеры);</a:t>
            </a:r>
          </a:p>
          <a:p>
            <a:pPr marL="0" indent="0" algn="just" eaLnBrk="1" hangingPunct="1">
              <a:buNone/>
            </a:pPr>
            <a:endParaRPr lang="ru-RU" sz="7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 eaLnBrk="1" hangingPunct="1">
              <a:buNone/>
            </a:pP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информационный «голод» большей части родителей детей-инвалидов, приводящий к некомпетентности в вопросах социально-медицинской, социально-психологической, социально-педагогической реабилитации.</a:t>
            </a:r>
          </a:p>
        </p:txBody>
      </p:sp>
      <p:sp>
        <p:nvSpPr>
          <p:cNvPr id="520194" name="Заголовок 2"/>
          <p:cNvSpPr>
            <a:spLocks noGrp="1"/>
          </p:cNvSpPr>
          <p:nvPr>
            <p:ph type="title"/>
          </p:nvPr>
        </p:nvSpPr>
        <p:spPr>
          <a:xfrm>
            <a:off x="1146630" y="596446"/>
            <a:ext cx="7765595" cy="898525"/>
          </a:xfrm>
        </p:spPr>
        <p:txBody>
          <a:bodyPr/>
          <a:lstStyle/>
          <a:p>
            <a:pPr eaLnBrk="1" hangingPunct="1"/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 семей, имеющих детей-инвалидов</a:t>
            </a:r>
            <a:endParaRPr lang="ru-RU" sz="2400" dirty="0" smtClean="0"/>
          </a:p>
        </p:txBody>
      </p:sp>
      <p:pic>
        <p:nvPicPr>
          <p:cNvPr id="520195" name="Picture 5" descr="gallery!b0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82575" y="5276850"/>
            <a:ext cx="2035175" cy="114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0196" name="Picture 7" descr="pamjatka-mamy-pervoklassnika-ili-op_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74913" y="5238750"/>
            <a:ext cx="18954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0197" name="Picture 9" descr="2016040901001521625_gyk397mv9xy_result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56138" y="5213350"/>
            <a:ext cx="2181225" cy="123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0198" name="Picture 11" descr="0_1d3c4b_8408509c_ori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40563" y="5200650"/>
            <a:ext cx="1871662" cy="1246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0199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3106" y="338138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8705624" y="6108690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217" name="Rectangle 5"/>
          <p:cNvSpPr>
            <a:spLocks noGrp="1"/>
          </p:cNvSpPr>
          <p:nvPr>
            <p:ph type="body" sz="half" idx="4294967295"/>
          </p:nvPr>
        </p:nvSpPr>
        <p:spPr>
          <a:xfrm>
            <a:off x="116114" y="2527300"/>
            <a:ext cx="4310743" cy="3451225"/>
          </a:xfrm>
        </p:spPr>
        <p:txBody>
          <a:bodyPr/>
          <a:lstStyle/>
          <a:p>
            <a:pPr algn="just" eaLnBrk="1" hangingPunct="1">
              <a:buFont typeface="Symbol" pitchFamily="18" charset="2"/>
              <a:buNone/>
            </a:pPr>
            <a:endParaRPr lang="ru-RU" sz="2000" dirty="0" smtClean="0"/>
          </a:p>
          <a:p>
            <a:pPr algn="ctr" eaLnBrk="1" hangingPunct="1">
              <a:buFont typeface="Symbol" pitchFamily="18" charset="2"/>
              <a:buNone/>
            </a:pP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данным</a:t>
            </a:r>
          </a:p>
          <a:p>
            <a:pPr algn="ctr" eaLnBrk="1" hangingPunct="1">
              <a:buFont typeface="Symbol" pitchFamily="18" charset="2"/>
              <a:buNone/>
            </a:pP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й статистической</a:t>
            </a:r>
          </a:p>
          <a:p>
            <a:pPr marL="11113" indent="-11113" algn="ctr" eaLnBrk="1" hangingPunct="1">
              <a:buFont typeface="Symbol" pitchFamily="18" charset="2"/>
              <a:buNone/>
            </a:pP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четности  численность </a:t>
            </a:r>
          </a:p>
          <a:p>
            <a:pPr marL="11113" indent="-11113" algn="ctr" eaLnBrk="1" hangingPunct="1">
              <a:buFont typeface="Symbol" pitchFamily="18" charset="2"/>
              <a:buNone/>
            </a:pP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ей-инвалидов</a:t>
            </a:r>
          </a:p>
          <a:p>
            <a:pPr algn="ctr" eaLnBrk="1" hangingPunct="1">
              <a:buFont typeface="Symbol" pitchFamily="18" charset="2"/>
              <a:buNone/>
            </a:pPr>
            <a:r>
              <a:rPr lang="ru-RU" sz="2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личивается и</a:t>
            </a:r>
            <a:r>
              <a:rPr lang="ru-RU" sz="2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авляет </a:t>
            </a:r>
          </a:p>
          <a:p>
            <a:pPr algn="ctr" eaLnBrk="1" hangingPunct="1">
              <a:buFont typeface="Symbol" pitchFamily="18" charset="2"/>
              <a:buNone/>
            </a:pP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е 2 % от общей численности детского населения </a:t>
            </a:r>
          </a:p>
          <a:p>
            <a:pPr algn="just" eaLnBrk="1" hangingPunct="1">
              <a:buFont typeface="Symbol" pitchFamily="18" charset="2"/>
              <a:buNone/>
            </a:pPr>
            <a:endParaRPr lang="ru-RU" sz="2000" dirty="0" smtClean="0">
              <a:solidFill>
                <a:schemeClr val="tx1"/>
              </a:solidFill>
            </a:endParaRPr>
          </a:p>
          <a:p>
            <a:pPr algn="just" eaLnBrk="1" hangingPunct="1">
              <a:buFont typeface="Symbol" pitchFamily="18" charset="2"/>
              <a:buNone/>
            </a:pPr>
            <a:endParaRPr lang="ru-RU" sz="2000" dirty="0">
              <a:solidFill>
                <a:schemeClr val="tx1"/>
              </a:solidFill>
            </a:endParaRPr>
          </a:p>
          <a:p>
            <a:pPr algn="just" eaLnBrk="1" hangingPunct="1">
              <a:buFont typeface="Symbol" pitchFamily="18" charset="2"/>
              <a:buNone/>
            </a:pPr>
            <a:endParaRPr lang="ru-RU" sz="2000" dirty="0" smtClean="0">
              <a:solidFill>
                <a:schemeClr val="tx1"/>
              </a:solidFill>
            </a:endParaRPr>
          </a:p>
        </p:txBody>
      </p:sp>
      <p:sp>
        <p:nvSpPr>
          <p:cNvPr id="521218" name="Rectangle 6"/>
          <p:cNvSpPr>
            <a:spLocks noGrp="1"/>
          </p:cNvSpPr>
          <p:nvPr>
            <p:ph type="body" sz="half" idx="4294967295"/>
          </p:nvPr>
        </p:nvSpPr>
        <p:spPr>
          <a:xfrm>
            <a:off x="4651375" y="2576514"/>
            <a:ext cx="4086225" cy="3549650"/>
          </a:xfrm>
        </p:spPr>
        <p:txBody>
          <a:bodyPr/>
          <a:lstStyle/>
          <a:p>
            <a:pPr eaLnBrk="1" hangingPunct="1">
              <a:buFont typeface="Symbol" pitchFamily="18" charset="2"/>
              <a:buNone/>
            </a:pPr>
            <a:r>
              <a:rPr lang="ru-RU" sz="2000" dirty="0" smtClean="0"/>
              <a:t>     </a:t>
            </a:r>
          </a:p>
          <a:p>
            <a:pPr algn="ctr" eaLnBrk="1" hangingPunct="1">
              <a:buFont typeface="Symbol" pitchFamily="18" charset="2"/>
              <a:buNone/>
            </a:pPr>
            <a:r>
              <a:rPr lang="ru-RU" sz="2000" dirty="0" smtClean="0"/>
              <a:t>    </a:t>
            </a: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общей численности инвалидов, проживающих в городе Челябинске, </a:t>
            </a:r>
          </a:p>
          <a:p>
            <a:pPr algn="ctr" eaLnBrk="1" hangingPunct="1">
              <a:buFont typeface="Symbol" pitchFamily="18" charset="2"/>
              <a:buNone/>
            </a:pP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192 ребенка-инвалидов, </a:t>
            </a:r>
          </a:p>
          <a:p>
            <a:pPr algn="ctr" eaLnBrk="1" hangingPunct="1">
              <a:buFont typeface="Symbol" pitchFamily="18" charset="2"/>
              <a:buNone/>
            </a:pP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составляет 1,4 % </a:t>
            </a:r>
          </a:p>
          <a:p>
            <a:pPr algn="ctr" eaLnBrk="1" hangingPunct="1">
              <a:buFont typeface="Symbol" pitchFamily="18" charset="2"/>
              <a:buNone/>
            </a:pPr>
            <a:r>
              <a:rPr lang="ru-RU" sz="2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общей численности детского населения города</a:t>
            </a:r>
          </a:p>
        </p:txBody>
      </p:sp>
      <p:pic>
        <p:nvPicPr>
          <p:cNvPr id="521219" name="Picture 8" descr="250x238-13158372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70050" y="487363"/>
            <a:ext cx="3454400" cy="208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1220" name="Picture 10" descr="017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65775" y="487363"/>
            <a:ext cx="2174875" cy="218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1221" name="Picture 9"/>
          <p:cNvPicPr>
            <a:picLocks noGrp="1" noChangeAspect="1" noChangeArrowheads="1"/>
          </p:cNvPicPr>
          <p:nvPr>
            <p:ph type="title"/>
          </p:nvPr>
        </p:nvPicPr>
        <p:blipFill>
          <a:blip r:embed="rId4"/>
          <a:srcRect/>
          <a:stretch>
            <a:fillRect/>
          </a:stretch>
        </p:blipFill>
        <p:spPr>
          <a:xfrm>
            <a:off x="377824" y="323850"/>
            <a:ext cx="805465" cy="953407"/>
          </a:xfrm>
        </p:spPr>
      </p:pic>
      <p:sp>
        <p:nvSpPr>
          <p:cNvPr id="7" name="Заголовок 2"/>
          <p:cNvSpPr txBox="1">
            <a:spLocks/>
          </p:cNvSpPr>
          <p:nvPr/>
        </p:nvSpPr>
        <p:spPr bwMode="auto">
          <a:xfrm>
            <a:off x="8574995" y="610868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18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41" name="Rectangle 4"/>
          <p:cNvSpPr>
            <a:spLocks noGrp="1"/>
          </p:cNvSpPr>
          <p:nvPr>
            <p:ph type="title"/>
          </p:nvPr>
        </p:nvSpPr>
        <p:spPr>
          <a:xfrm>
            <a:off x="733425" y="338138"/>
            <a:ext cx="8221889" cy="1490662"/>
          </a:xfrm>
        </p:spPr>
        <p:txBody>
          <a:bodyPr/>
          <a:lstStyle/>
          <a:p>
            <a:pPr eaLnBrk="1" hangingPunct="1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</a:rPr>
              <a:t>Меры социальной поддержки семей, имеющих </a:t>
            </a:r>
            <a:br>
              <a:rPr lang="ru-RU" sz="2400" b="1" dirty="0" smtClean="0">
                <a:solidFill>
                  <a:schemeClr val="tx1"/>
                </a:solidFill>
                <a:latin typeface="Times New Roman" pitchFamily="18" charset="0"/>
              </a:rPr>
            </a:b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</a:rPr>
              <a:t>детей-инвалидов</a:t>
            </a:r>
          </a:p>
        </p:txBody>
      </p:sp>
      <p:sp>
        <p:nvSpPr>
          <p:cNvPr id="522242" name="Rectangle 7"/>
          <p:cNvSpPr>
            <a:spLocks/>
          </p:cNvSpPr>
          <p:nvPr/>
        </p:nvSpPr>
        <p:spPr bwMode="auto">
          <a:xfrm>
            <a:off x="457199" y="2002972"/>
            <a:ext cx="3868057" cy="3651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84138" indent="-11113" algn="ctr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2000" dirty="0">
                <a:solidFill>
                  <a:schemeClr val="tx2"/>
                </a:solidFill>
                <a:latin typeface="Candara" pitchFamily="34" charset="0"/>
              </a:rPr>
              <a:t> 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ры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ческой   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держки</a:t>
            </a:r>
          </a:p>
        </p:txBody>
      </p:sp>
      <p:sp>
        <p:nvSpPr>
          <p:cNvPr id="522243" name="Rectangle 8"/>
          <p:cNvSpPr>
            <a:spLocks noGrp="1"/>
          </p:cNvSpPr>
          <p:nvPr>
            <p:ph sz="half" idx="4294967295"/>
          </p:nvPr>
        </p:nvSpPr>
        <p:spPr>
          <a:xfrm>
            <a:off x="5176838" y="2002972"/>
            <a:ext cx="3629025" cy="3651703"/>
          </a:xfrm>
        </p:spPr>
        <p:txBody>
          <a:bodyPr/>
          <a:lstStyle/>
          <a:p>
            <a:pPr algn="ctr" eaLnBrk="1" hangingPunct="1">
              <a:buFont typeface="Symbol" pitchFamily="18" charset="2"/>
              <a:buNone/>
            </a:pPr>
            <a:r>
              <a:rPr lang="ru-RU" sz="2000" dirty="0" smtClean="0"/>
              <a:t>   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</a:t>
            </a:r>
          </a:p>
          <a:p>
            <a:pPr algn="ctr" eaLnBrk="1" hangingPunct="1">
              <a:buFont typeface="Symbol" pitchFamily="18" charset="2"/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х услуг</a:t>
            </a:r>
          </a:p>
        </p:txBody>
      </p:sp>
      <p:pic>
        <p:nvPicPr>
          <p:cNvPr id="522244" name="Picture 10" descr="imgpreview?key=4806ecc10345d5c8&amp;mb=imgdb_preview_13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7800" y="2916238"/>
            <a:ext cx="2076450" cy="137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45" name="Picture 12" descr="imgpreview?key=5639c4bc63b4a759&amp;mb=imgdb_preview_108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52725" y="2805113"/>
            <a:ext cx="1952625" cy="137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46" name="Picture 14" descr="92b726f1ecb5eeb673bf001032ccda3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4013" y="4441825"/>
            <a:ext cx="1900237" cy="1338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47" name="Picture 16" descr="82448aee9ac460fbff36bf4533cd55c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752725" y="4294188"/>
            <a:ext cx="2162175" cy="149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48" name="Picture 18" descr="konkurs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19275" y="5654675"/>
            <a:ext cx="142875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49" name="Picture 20" descr="106fd751b0367dc66c66b026e5ed1ac93677ffc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46738" y="2916238"/>
            <a:ext cx="3040062" cy="190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50" name="Picture 22" descr="imgpreview?key=74bff4300691c3e8&amp;mb=imgdb_preview_167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176838" y="4564063"/>
            <a:ext cx="2200275" cy="164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51" name="Picture 24" descr="4262_287351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900863" y="5065713"/>
            <a:ext cx="1905000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52" name="Picture 9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54013" y="322717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lang="ru-RU" sz="18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265" name="Rectangle 2"/>
          <p:cNvSpPr>
            <a:spLocks noGrp="1"/>
          </p:cNvSpPr>
          <p:nvPr>
            <p:ph type="title"/>
          </p:nvPr>
        </p:nvSpPr>
        <p:spPr>
          <a:xfrm>
            <a:off x="1065213" y="338138"/>
            <a:ext cx="7794283" cy="1592262"/>
          </a:xfrm>
        </p:spPr>
        <p:txBody>
          <a:bodyPr/>
          <a:lstStyle/>
          <a:p>
            <a:pPr eaLnBrk="1" hangingPunct="1"/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ы социальной поддержки семей, предусмотренные муниципальной программой 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Социальная поддержка населения города Челябинска»</a:t>
            </a: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3266" name="Rectangle 3"/>
          <p:cNvSpPr>
            <a:spLocks noGrp="1"/>
          </p:cNvSpPr>
          <p:nvPr>
            <p:ph type="body" idx="1"/>
          </p:nvPr>
        </p:nvSpPr>
        <p:spPr>
          <a:xfrm>
            <a:off x="188687" y="1782763"/>
            <a:ext cx="8824684" cy="4342266"/>
          </a:xfrm>
        </p:spPr>
        <p:txBody>
          <a:bodyPr/>
          <a:lstStyle/>
          <a:p>
            <a:pPr marL="0" indent="536575" algn="just"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адресная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териальная помощь малообеспеченным гражданам, в том числе семей, воспитывающих детей-инвалидов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536575" algn="just">
              <a:buNone/>
            </a:pP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536575" algn="just"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оказание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териальной помощи в связи с чрезвычайной ситуацией социального характера (например - на дорогостоящее лечение ребенка). Максимальный размер материальной помощи в связи с чрезвычайной ситуацией социального характера составляет до 200 тысяч рублей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536575" algn="just">
              <a:buNone/>
            </a:pP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536575" algn="just"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выплата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го пособия неработающим родителям, воспитывающим детей-инвалидов в неполных малообеспеченных семьях, размер ежеквартального пособия составляет 6 000,0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;</a:t>
            </a:r>
          </a:p>
          <a:p>
            <a:pPr marL="0" indent="536575" algn="just">
              <a:buNone/>
            </a:pP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536575" algn="just"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различных социальных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уг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buFont typeface="Symbol" pitchFamily="18" charset="2"/>
              <a:buNone/>
            </a:pPr>
            <a:endParaRPr lang="ru-RU" sz="19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23267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6388" y="338138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Заголовок 2"/>
          <p:cNvSpPr txBox="1">
            <a:spLocks/>
          </p:cNvSpPr>
          <p:nvPr/>
        </p:nvSpPr>
        <p:spPr bwMode="auto">
          <a:xfrm>
            <a:off x="8574995" y="6475515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ru-RU" sz="18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289" name="Rectangle 2"/>
          <p:cNvSpPr>
            <a:spLocks noGrp="1"/>
          </p:cNvSpPr>
          <p:nvPr>
            <p:ph type="title"/>
          </p:nvPr>
        </p:nvSpPr>
        <p:spPr>
          <a:xfrm>
            <a:off x="963612" y="188686"/>
            <a:ext cx="7723187" cy="1669143"/>
          </a:xfrm>
        </p:spPr>
        <p:txBody>
          <a:bodyPr/>
          <a:lstStyle/>
          <a:p>
            <a:pPr eaLnBrk="1" hangingPunct="1"/>
            <a:r>
              <a:rPr lang="ru-RU" sz="2000" dirty="0" smtClean="0"/>
              <a:t> </a:t>
            </a:r>
            <a:br>
              <a:rPr lang="ru-RU" sz="2000" dirty="0" smtClean="0"/>
            </a:br>
            <a:r>
              <a:rPr lang="ru-RU" sz="2000" b="1" dirty="0" smtClean="0"/>
              <a:t> </a:t>
            </a: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сидии социально ориентированным  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коммерческим организациям на реализацию 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о значимых проектов, направленных 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реабилитацию детей-инвалидов, в 2017 году </a:t>
            </a:r>
          </a:p>
        </p:txBody>
      </p:sp>
      <p:sp>
        <p:nvSpPr>
          <p:cNvPr id="524290" name="Rectangle 3"/>
          <p:cNvSpPr>
            <a:spLocks noGrp="1"/>
          </p:cNvSpPr>
          <p:nvPr>
            <p:ph type="body" idx="1"/>
          </p:nvPr>
        </p:nvSpPr>
        <p:spPr>
          <a:xfrm>
            <a:off x="217713" y="1992313"/>
            <a:ext cx="7272111" cy="4060144"/>
          </a:xfrm>
        </p:spPr>
        <p:txBody>
          <a:bodyPr/>
          <a:lstStyle/>
          <a:p>
            <a:pPr marL="84138" indent="-11113" eaLnBrk="1" hangingPunct="1">
              <a:lnSpc>
                <a:spcPct val="90000"/>
              </a:lnSpc>
              <a:buFont typeface="Symbol" pitchFamily="18" charset="2"/>
              <a:buNone/>
              <a:tabLst>
                <a:tab pos="87313" algn="l"/>
              </a:tabLst>
            </a:pP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- Челябинское городское общественное движение помощи </a:t>
            </a:r>
            <a:r>
              <a:rPr lang="ru-RU" sz="18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кобольным</a:t>
            </a: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етям «Искорка»;</a:t>
            </a:r>
          </a:p>
          <a:p>
            <a:pPr marL="84138" indent="-11113" eaLnBrk="1" hangingPunct="1">
              <a:lnSpc>
                <a:spcPct val="90000"/>
              </a:lnSpc>
              <a:buFont typeface="Symbol" pitchFamily="18" charset="2"/>
              <a:buNone/>
              <a:tabLst>
                <a:tab pos="87313" algn="l"/>
              </a:tabLst>
            </a:pP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- Челябинский региональный орган общественной самодеятельности - организация помощи детям «Звездный дождь»;</a:t>
            </a:r>
          </a:p>
          <a:p>
            <a:pPr marL="84138" indent="-11113" eaLnBrk="1" hangingPunct="1">
              <a:lnSpc>
                <a:spcPct val="90000"/>
              </a:lnSpc>
              <a:buFont typeface="Symbol" pitchFamily="18" charset="2"/>
              <a:buNone/>
              <a:tabLst>
                <a:tab pos="87313" algn="l"/>
              </a:tabLst>
            </a:pP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- Челябинская областная общественная организация поддержки детей с нарушениями развития и их семей «Особые семьи»;</a:t>
            </a:r>
          </a:p>
          <a:p>
            <a:pPr marL="84138" indent="-11113" eaLnBrk="1" hangingPunct="1">
              <a:lnSpc>
                <a:spcPct val="90000"/>
              </a:lnSpc>
              <a:buFont typeface="Symbol" pitchFamily="18" charset="2"/>
              <a:buNone/>
              <a:tabLst>
                <a:tab pos="87313" algn="l"/>
              </a:tabLst>
            </a:pP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-  Челябинское городское общественное движение родителей детей-инвалидов, инвалидов детства «Дом надежды»; </a:t>
            </a:r>
          </a:p>
          <a:p>
            <a:pPr marL="84138" indent="-11113" eaLnBrk="1" hangingPunct="1">
              <a:lnSpc>
                <a:spcPct val="90000"/>
              </a:lnSpc>
              <a:buFont typeface="Symbol" pitchFamily="18" charset="2"/>
              <a:buNone/>
              <a:tabLst>
                <a:tab pos="87313" algn="l"/>
              </a:tabLst>
            </a:pP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- Челябинская региональная диабетическая общественная организация «Вместе».    </a:t>
            </a:r>
          </a:p>
          <a:p>
            <a:pPr marL="84138" indent="539750" eaLnBrk="1" hangingPunct="1">
              <a:lnSpc>
                <a:spcPct val="90000"/>
              </a:lnSpc>
              <a:buFont typeface="Symbol" pitchFamily="18" charset="2"/>
              <a:buNone/>
              <a:tabLst>
                <a:tab pos="87313" algn="l"/>
              </a:tabLst>
            </a:pP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сумма средств местного бюджета, направленных на реализацию социально значимых проектов, составила </a:t>
            </a:r>
            <a:r>
              <a:rPr 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один миллион рублей.    </a:t>
            </a:r>
          </a:p>
        </p:txBody>
      </p:sp>
      <p:pic>
        <p:nvPicPr>
          <p:cNvPr id="524291" name="Picture 7" descr="image15270439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09537" y="1992313"/>
            <a:ext cx="1590675" cy="151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4292" name="Picture 9" descr="content_iskorkaspira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263944" y="3506788"/>
            <a:ext cx="1504950" cy="125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4293" name="Picture 11" descr="500x400-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77431" y="5177006"/>
            <a:ext cx="1863725" cy="149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4294" name="Picture 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64446" y="338138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31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ской  фестиваль творчества детей 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ограниченными возможностями здоровья </a:t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Искорки надежды»</a:t>
            </a:r>
          </a:p>
        </p:txBody>
      </p:sp>
      <p:sp>
        <p:nvSpPr>
          <p:cNvPr id="525314" name="Rectangle 3"/>
          <p:cNvSpPr>
            <a:spLocks noGrp="1"/>
          </p:cNvSpPr>
          <p:nvPr>
            <p:ph type="body" idx="1"/>
          </p:nvPr>
        </p:nvSpPr>
        <p:spPr>
          <a:xfrm>
            <a:off x="-165100" y="1854200"/>
            <a:ext cx="3309938" cy="3086100"/>
          </a:xfrm>
        </p:spPr>
        <p:txBody>
          <a:bodyPr/>
          <a:lstStyle/>
          <a:p>
            <a:pPr indent="-11113" defTabSz="261938" eaLnBrk="1" hangingPunct="1">
              <a:lnSpc>
                <a:spcPct val="80000"/>
              </a:lnSpc>
              <a:buFont typeface="Symbol" pitchFamily="18" charset="2"/>
              <a:buNone/>
            </a:pPr>
            <a:r>
              <a:rPr lang="ru-RU" sz="2000" dirty="0" smtClean="0"/>
              <a:t>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фестиваль - развитие потенциала детей с инвалидностью средствами искусства в процессе творческой деятельности, выявление талантливых детей, привлечение их к активному участию в культурной жизни                города Челябинска</a:t>
            </a:r>
          </a:p>
        </p:txBody>
      </p:sp>
      <p:pic>
        <p:nvPicPr>
          <p:cNvPr id="525315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163" y="5070475"/>
            <a:ext cx="2047875" cy="153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5316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883275" y="1519238"/>
            <a:ext cx="2503488" cy="187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5317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706563" y="4714875"/>
            <a:ext cx="1954212" cy="146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5318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006725" y="3535363"/>
            <a:ext cx="2044700" cy="153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5319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660775" y="2058988"/>
            <a:ext cx="2222500" cy="166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5320" name="Picture 9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00063" y="477838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5322" name="Rectangle 13"/>
          <p:cNvSpPr>
            <a:spLocks/>
          </p:cNvSpPr>
          <p:nvPr/>
        </p:nvSpPr>
        <p:spPr bwMode="auto">
          <a:xfrm>
            <a:off x="4772025" y="2381250"/>
            <a:ext cx="4221162" cy="422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73050" indent="-27305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2000" dirty="0">
                <a:solidFill>
                  <a:schemeClr val="tx2"/>
                </a:solidFill>
                <a:latin typeface="Candara" pitchFamily="34" charset="0"/>
              </a:rPr>
              <a:t>     </a:t>
            </a:r>
          </a:p>
          <a:p>
            <a:pPr marL="273050" indent="-273050" algn="just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sz="2000" dirty="0">
                <a:solidFill>
                  <a:schemeClr val="tx2"/>
                </a:solidFill>
                <a:latin typeface="Candara" pitchFamily="34" charset="0"/>
              </a:rPr>
              <a:t>    </a:t>
            </a:r>
            <a:r>
              <a:rPr lang="ru-RU" dirty="0">
                <a:solidFill>
                  <a:schemeClr val="tx2"/>
                </a:solidFill>
                <a:latin typeface="Candara" pitchFamily="34" charset="0"/>
              </a:rPr>
              <a:t> </a:t>
            </a:r>
          </a:p>
          <a:p>
            <a:pPr marL="273050" indent="-273050" algn="just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dirty="0">
                <a:solidFill>
                  <a:schemeClr val="tx2"/>
                </a:solidFill>
                <a:latin typeface="Candara" pitchFamily="34" charset="0"/>
              </a:rPr>
              <a:t>                   </a:t>
            </a:r>
          </a:p>
          <a:p>
            <a:pPr marL="273050" indent="-273050" algn="r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</a:pPr>
            <a:r>
              <a:rPr lang="ru-RU" dirty="0">
                <a:solidFill>
                  <a:schemeClr val="tx2"/>
                </a:solidFill>
                <a:latin typeface="Candara" pitchFamily="34" charset="0"/>
              </a:rPr>
              <a:t> 	     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 активное участие в фестивале принимают  общественные организации, объединяющие родителей детей с ограниченными возможностями здоровья, которые  занимаются разработкой уникальных программ и методик социальной и психолого-адаптационной реабилитации детей с ОВЗ и их родителей, направленных на развитие их творческого потенциала, коммуникативных способностей 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сихологическое оздоровление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endParaRPr lang="ru-RU" sz="18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6337" name="Rectangle 2"/>
          <p:cNvSpPr>
            <a:spLocks noGrp="1"/>
          </p:cNvSpPr>
          <p:nvPr>
            <p:ph type="title"/>
          </p:nvPr>
        </p:nvSpPr>
        <p:spPr>
          <a:xfrm>
            <a:off x="1128713" y="0"/>
            <a:ext cx="7859712" cy="1494971"/>
          </a:xfrm>
        </p:spPr>
        <p:txBody>
          <a:bodyPr/>
          <a:lstStyle/>
          <a:p>
            <a:pPr eaLnBrk="1" hangingPunct="1"/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ая программа</a:t>
            </a:r>
            <a:b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Об обеспечении беспрепятственного доступа</a:t>
            </a:r>
            <a:b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аломобильных групп населения </a:t>
            </a:r>
            <a:r>
              <a:rPr lang="ru-RU" sz="2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объектам социальной </a:t>
            </a:r>
            <a:b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раструктуры и информации в городе  Челябинске»</a:t>
            </a:r>
          </a:p>
        </p:txBody>
      </p:sp>
      <p:sp>
        <p:nvSpPr>
          <p:cNvPr id="526338" name="Rectangle 3"/>
          <p:cNvSpPr>
            <a:spLocks noGrp="1"/>
          </p:cNvSpPr>
          <p:nvPr>
            <p:ph type="body" idx="1"/>
          </p:nvPr>
        </p:nvSpPr>
        <p:spPr>
          <a:xfrm>
            <a:off x="209550" y="1915885"/>
            <a:ext cx="6067425" cy="4751783"/>
          </a:xfrm>
        </p:spPr>
        <p:txBody>
          <a:bodyPr/>
          <a:lstStyle/>
          <a:p>
            <a:pPr algn="just" eaLnBrk="1" hangingPunct="1">
              <a:lnSpc>
                <a:spcPct val="90000"/>
              </a:lnSpc>
              <a:buFont typeface="Symbol" pitchFamily="18" charset="2"/>
              <a:buNone/>
            </a:pPr>
            <a:r>
              <a:rPr lang="ru-RU" sz="1800" dirty="0" smtClean="0"/>
              <a:t>   </a:t>
            </a:r>
          </a:p>
          <a:p>
            <a:pPr marL="11113" indent="250825" algn="just" eaLnBrk="1" hangingPunct="1">
              <a:lnSpc>
                <a:spcPct val="90000"/>
              </a:lnSpc>
              <a:buFont typeface="Symbol" pitchFamily="18" charset="2"/>
              <a:buNone/>
            </a:pPr>
            <a:r>
              <a:rPr lang="ru-RU" sz="2000" dirty="0" smtClean="0"/>
              <a:t>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6 году в рамках мероприятий муниципальной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 продолжено:</a:t>
            </a:r>
            <a:endParaRPr lang="ru-RU" sz="20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350" indent="-6350" algn="just" eaLnBrk="1" hangingPunct="1">
              <a:lnSpc>
                <a:spcPct val="90000"/>
              </a:lnSpc>
              <a:buFont typeface="Symbol" pitchFamily="18" charset="2"/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-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 доступности 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ходных групп,  внутреннего пространства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аний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прилегающих территорий образовательных организаций; </a:t>
            </a:r>
          </a:p>
          <a:p>
            <a:pPr marL="6350" indent="-6350" algn="just" eaLnBrk="1" hangingPunct="1">
              <a:lnSpc>
                <a:spcPct val="90000"/>
              </a:lnSpc>
              <a:buFont typeface="Symbol" pitchFamily="18" charset="2"/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оснащение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ых организаций специальным оборудованием для инклюзивного образования детей-инвалидов по зрению и  слуху;   </a:t>
            </a:r>
          </a:p>
          <a:p>
            <a:pPr marL="6350" indent="-6350" algn="just" eaLnBrk="1" hangingPunct="1">
              <a:lnSpc>
                <a:spcPct val="90000"/>
              </a:lnSpc>
              <a:buFont typeface="Symbol" pitchFamily="18" charset="2"/>
              <a:buNone/>
            </a:pP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оснащение подвижного состава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перевозки пассажиров по маршрутной сети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етодиодным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о для слабослышащих с указанием остановочных пунктов, специальным звуковым сигналом для слабовидящих и других маломобильных групп населения, маршрутными указателями с увеличенным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рифтом</a:t>
            </a:r>
            <a:endParaRPr lang="ru-RU" sz="20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26339" name="Picture 5" descr="5a29d8165fbdc752c599f6050fd70f7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35725" y="5016500"/>
            <a:ext cx="25527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6340" name="Picture 7" descr="inklude1-728x40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5725" y="3406775"/>
            <a:ext cx="2470150" cy="138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6341" name="Picture 9" descr="dostupnye-vybory-piktogrammy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70650" y="2049463"/>
            <a:ext cx="2435225" cy="1217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6342" name="Picture 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69888" y="338138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361" name="Rectangle 4"/>
          <p:cNvSpPr>
            <a:spLocks noChangeArrowheads="1"/>
          </p:cNvSpPr>
          <p:nvPr/>
        </p:nvSpPr>
        <p:spPr bwMode="auto">
          <a:xfrm>
            <a:off x="898525" y="115888"/>
            <a:ext cx="8137525" cy="8651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81639" tIns="42452" rIns="81639" bIns="42452" anchor="ctr"/>
          <a:lstStyle/>
          <a:p>
            <a:pPr algn="ctr" eaLnBrk="0" hangingPunct="0"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</a:pPr>
            <a:r>
              <a:rPr lang="ru-RU" altLang="ru-RU" sz="3600" b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b="1">
                <a:solidFill>
                  <a:srgbClr val="0B5395"/>
                </a:solidFill>
                <a:latin typeface="Times New Roman" pitchFamily="18" charset="0"/>
              </a:rPr>
              <a:t> </a:t>
            </a:r>
          </a:p>
          <a:p>
            <a:pPr algn="ctr" eaLnBrk="0" hangingPunct="0">
              <a:tabLst>
                <a:tab pos="0" algn="l"/>
                <a:tab pos="404813" algn="l"/>
                <a:tab pos="812800" algn="l"/>
                <a:tab pos="1220788" algn="l"/>
                <a:tab pos="1627188" algn="l"/>
                <a:tab pos="2035175" algn="l"/>
                <a:tab pos="2443163" algn="l"/>
                <a:tab pos="2851150" algn="l"/>
                <a:tab pos="3257550" algn="l"/>
                <a:tab pos="3665538" algn="l"/>
                <a:tab pos="4073525" algn="l"/>
                <a:tab pos="4479925" algn="l"/>
                <a:tab pos="4887913" algn="l"/>
                <a:tab pos="5295900" algn="l"/>
                <a:tab pos="5703888" algn="l"/>
                <a:tab pos="6110288" algn="l"/>
                <a:tab pos="6518275" algn="l"/>
                <a:tab pos="6926263" algn="l"/>
                <a:tab pos="7332663" algn="l"/>
                <a:tab pos="7740650" algn="l"/>
                <a:tab pos="8148638" algn="l"/>
              </a:tabLst>
            </a:pPr>
            <a:endParaRPr lang="ru-RU" altLang="ru-RU" b="1">
              <a:solidFill>
                <a:srgbClr val="0B5395"/>
              </a:solidFill>
              <a:latin typeface="Times New Roman" pitchFamily="18" charset="0"/>
            </a:endParaRPr>
          </a:p>
        </p:txBody>
      </p:sp>
      <p:sp>
        <p:nvSpPr>
          <p:cNvPr id="527362" name="Номер слайда 6"/>
          <p:cNvSpPr txBox="1">
            <a:spLocks noGrp="1"/>
          </p:cNvSpPr>
          <p:nvPr/>
        </p:nvSpPr>
        <p:spPr bwMode="auto">
          <a:xfrm>
            <a:off x="8299450" y="6416675"/>
            <a:ext cx="711200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0" hangingPunct="0"/>
            <a:endParaRPr lang="ru-RU" altLang="ru-RU" sz="200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27363" name="Picture 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0063" y="477838"/>
            <a:ext cx="758825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7364" name="Содержимое 9"/>
          <p:cNvSpPr>
            <a:spLocks noGrp="1"/>
          </p:cNvSpPr>
          <p:nvPr>
            <p:ph idx="4294967295"/>
          </p:nvPr>
        </p:nvSpPr>
        <p:spPr>
          <a:xfrm>
            <a:off x="107722" y="1513793"/>
            <a:ext cx="4114574" cy="5000625"/>
          </a:xfrm>
        </p:spPr>
        <p:txBody>
          <a:bodyPr/>
          <a:lstStyle/>
          <a:p>
            <a:pPr eaLnBrk="1" hangingPunct="1">
              <a:buFont typeface="Symbol" pitchFamily="18" charset="2"/>
              <a:buNone/>
            </a:pPr>
            <a:r>
              <a:rPr lang="ru-RU" sz="1000" dirty="0" smtClean="0">
                <a:cs typeface="Times New Roman" pitchFamily="18" charset="0"/>
              </a:rPr>
              <a:t>			</a:t>
            </a:r>
            <a:endParaRPr lang="ru-RU" sz="1200" b="1" i="1" dirty="0" smtClean="0">
              <a:cs typeface="Times New Roman" pitchFamily="18" charset="0"/>
            </a:endParaRPr>
          </a:p>
          <a:p>
            <a:pPr algn="just" eaLnBrk="1" hangingPunct="1">
              <a:buFont typeface="Symbol" pitchFamily="18" charset="2"/>
              <a:buNone/>
            </a:pPr>
            <a:r>
              <a:rPr lang="ru-RU" sz="1200" b="1" i="1" dirty="0" smtClean="0">
                <a:cs typeface="Times New Roman" pitchFamily="18" charset="0"/>
              </a:rPr>
              <a:t>		</a:t>
            </a:r>
          </a:p>
          <a:p>
            <a:pPr algn="just" eaLnBrk="1" hangingPunct="1">
              <a:buFont typeface="Symbol" pitchFamily="18" charset="2"/>
              <a:buNone/>
            </a:pPr>
            <a:endParaRPr lang="ru-RU" sz="1200" b="1" i="1" dirty="0" smtClean="0">
              <a:cs typeface="Times New Roman" pitchFamily="18" charset="0"/>
            </a:endParaRPr>
          </a:p>
          <a:p>
            <a:pPr marL="171450" indent="-11113" eaLnBrk="1" hangingPunct="1">
              <a:buFont typeface="Symbol" pitchFamily="18" charset="2"/>
              <a:buNone/>
            </a:pPr>
            <a:r>
              <a:rPr lang="ru-RU" sz="1800" b="1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городе  Челябинске работает служба «Социальное такси», осуществляющая доставку отдельных категорий граждан, ограниченных в передвижении, к объектам социальной инфраструктуры города.  </a:t>
            </a:r>
          </a:p>
          <a:p>
            <a:pPr marL="171450" indent="-11113" eaLnBrk="1" hangingPunct="1">
              <a:buFont typeface="Symbol" pitchFamily="18" charset="2"/>
              <a:buNone/>
            </a:pPr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2016 год выполнено более 10 тысяч заявок</a:t>
            </a:r>
          </a:p>
          <a:p>
            <a:pPr algn="just" eaLnBrk="1" hangingPunct="1">
              <a:buFont typeface="Symbol" pitchFamily="18" charset="2"/>
              <a:buNone/>
            </a:pPr>
            <a:endParaRPr lang="ru-RU" sz="1500" dirty="0" smtClean="0">
              <a:cs typeface="Times New Roman" pitchFamily="18" charset="0"/>
            </a:endParaRPr>
          </a:p>
          <a:p>
            <a:pPr eaLnBrk="1" hangingPunct="1">
              <a:buFont typeface="Symbol" pitchFamily="18" charset="2"/>
              <a:buNone/>
            </a:pPr>
            <a:endParaRPr lang="ru-RU" sz="1500" b="1" i="1" dirty="0" smtClean="0">
              <a:cs typeface="Times New Roman" pitchFamily="18" charset="0"/>
            </a:endParaRPr>
          </a:p>
          <a:p>
            <a:pPr eaLnBrk="1" hangingPunct="1">
              <a:buFont typeface="Symbol" pitchFamily="18" charset="2"/>
              <a:buNone/>
            </a:pPr>
            <a:endParaRPr lang="ru-RU" sz="1500" dirty="0" smtClean="0">
              <a:cs typeface="Times New Roman" pitchFamily="18" charset="0"/>
            </a:endParaRPr>
          </a:p>
        </p:txBody>
      </p:sp>
      <p:pic>
        <p:nvPicPr>
          <p:cNvPr id="52736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06925" y="3122613"/>
            <a:ext cx="1757363" cy="113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7366" name="Rectangle 8"/>
          <p:cNvSpPr>
            <a:spLocks/>
          </p:cNvSpPr>
          <p:nvPr/>
        </p:nvSpPr>
        <p:spPr bwMode="auto">
          <a:xfrm>
            <a:off x="138112" y="857250"/>
            <a:ext cx="3552825" cy="1203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dirty="0">
                <a:solidFill>
                  <a:srgbClr val="FFFFFF"/>
                </a:solidFill>
                <a:latin typeface="Candara" pitchFamily="34" charset="0"/>
              </a:rPr>
              <a:t>  </a:t>
            </a:r>
          </a:p>
          <a:p>
            <a:pPr algn="ctr"/>
            <a:endParaRPr lang="ru-RU" dirty="0">
              <a:solidFill>
                <a:srgbClr val="FFFFFF"/>
              </a:solidFill>
              <a:latin typeface="Candara" pitchFamily="34" charset="0"/>
            </a:endParaRPr>
          </a:p>
          <a:p>
            <a:pPr algn="ctr"/>
            <a:endParaRPr lang="ru-RU" dirty="0">
              <a:solidFill>
                <a:srgbClr val="FFFFFF"/>
              </a:solidFill>
              <a:latin typeface="Candara" pitchFamily="34" charset="0"/>
            </a:endParaRPr>
          </a:p>
          <a:p>
            <a:pPr algn="ctr"/>
            <a:endPara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а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ое такси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algn="ctr"/>
            <a:endParaRPr lang="ru-RU" sz="2000" dirty="0">
              <a:latin typeface="Candara" pitchFamily="34" charset="0"/>
            </a:endParaRPr>
          </a:p>
        </p:txBody>
      </p:sp>
      <p:pic>
        <p:nvPicPr>
          <p:cNvPr id="527367" name="Picture 10" descr="p1478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263775" y="4252913"/>
            <a:ext cx="1695450" cy="150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7368" name="Picture 12" descr="70284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2413" y="4655911"/>
            <a:ext cx="2011362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7371" name="Picture 11" descr="imgpreview?key=7d71dfece7b39f5e&amp;mb=imgdb_preview_35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97513" y="5311775"/>
            <a:ext cx="2066925" cy="1495425"/>
          </a:xfrm>
          <a:prstGeom prst="rect">
            <a:avLst/>
          </a:prstGeom>
          <a:noFill/>
        </p:spPr>
      </p:pic>
      <p:pic>
        <p:nvPicPr>
          <p:cNvPr id="527373" name="Picture 13" descr="1446024559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364288" y="3122613"/>
            <a:ext cx="1935162" cy="1287462"/>
          </a:xfrm>
          <a:prstGeom prst="rect">
            <a:avLst/>
          </a:prstGeom>
          <a:noFill/>
        </p:spPr>
      </p:pic>
      <p:sp>
        <p:nvSpPr>
          <p:cNvPr id="527374" name="Rectangle 13"/>
          <p:cNvSpPr>
            <a:spLocks/>
          </p:cNvSpPr>
          <p:nvPr/>
        </p:nvSpPr>
        <p:spPr bwMode="auto">
          <a:xfrm>
            <a:off x="4252686" y="2170907"/>
            <a:ext cx="4519839" cy="416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обследования социально значимых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ов,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результатам которых формируются 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ации для устранения нарушений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73050" indent="-273050"/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73050" indent="-273050"/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73050" indent="-273050"/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73050" indent="-273050"/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73050" indent="-273050"/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73050" indent="-273050" algn="just"/>
            <a:endParaRPr lang="ru-RU" sz="17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1113" indent="-11113" algn="just"/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работа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аве городской комиссии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переводу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илых помещений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нежилые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мещения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7376" name="Rectangle 8"/>
          <p:cNvSpPr>
            <a:spLocks/>
          </p:cNvSpPr>
          <p:nvPr/>
        </p:nvSpPr>
        <p:spPr bwMode="auto">
          <a:xfrm>
            <a:off x="4093029" y="1376363"/>
            <a:ext cx="4766467" cy="758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dirty="0">
              <a:solidFill>
                <a:srgbClr val="FFFFFF"/>
              </a:solidFill>
              <a:latin typeface="Candara" pitchFamily="34" charset="0"/>
            </a:endParaRPr>
          </a:p>
          <a:p>
            <a:pPr algn="ctr"/>
            <a:r>
              <a:rPr lang="ru-RU" dirty="0">
                <a:solidFill>
                  <a:srgbClr val="FFFFFF"/>
                </a:solidFill>
                <a:latin typeface="Candara" pitchFamily="34" charset="0"/>
              </a:rPr>
              <a:t> 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ль общественных организаций инвалидов-колясочников в формировании доступной среды</a:t>
            </a:r>
          </a:p>
        </p:txBody>
      </p:sp>
      <p:sp>
        <p:nvSpPr>
          <p:cNvPr id="14" name="Заголовок 2"/>
          <p:cNvSpPr txBox="1">
            <a:spLocks/>
          </p:cNvSpPr>
          <p:nvPr/>
        </p:nvSpPr>
        <p:spPr bwMode="auto">
          <a:xfrm>
            <a:off x="8574995" y="6477339"/>
            <a:ext cx="569005" cy="380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</a:p>
        </p:txBody>
      </p:sp>
      <p:sp>
        <p:nvSpPr>
          <p:cNvPr id="15" name="Rectangle 2"/>
          <p:cNvSpPr txBox="1">
            <a:spLocks/>
          </p:cNvSpPr>
          <p:nvPr/>
        </p:nvSpPr>
        <p:spPr>
          <a:xfrm>
            <a:off x="1128713" y="0"/>
            <a:ext cx="7859712" cy="149497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eaLnBrk="1" hangingPunct="1"/>
            <a: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беспрепятственного доступа</a:t>
            </a:r>
            <a:b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аломобильных групп населения  к объектам социальной </a:t>
            </a:r>
            <a:b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раструктуры города Челябинска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HNwZiWNUauCp2031f3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T..83H0CyAp2L0hUu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hdilhJ0yz_mwCLdKgy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Форма волны">
  <a:themeElements>
    <a:clrScheme name="Форма волны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Форма волны">
      <a:majorFont>
        <a:latin typeface="Candara"/>
        <a:ea typeface=""/>
        <a:cs typeface=""/>
        <a:font script="Jpan" typeface="HGP明朝E"/>
        <a:font script="Hang" typeface="HY그래픽M"/>
        <a:font script="Hans" typeface="华文新魏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HGP明朝E"/>
        <a:font script="Hang" typeface="HY그래픽M"/>
        <a:font script="Hans" typeface="华文楷体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Форма волны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40000">
              <a:schemeClr val="phClr">
                <a:tint val="94000"/>
                <a:shade val="94000"/>
                <a:alpha val="100000"/>
                <a:satMod val="114000"/>
                <a:lumMod val="114000"/>
              </a:schemeClr>
            </a:gs>
            <a:gs pos="74000">
              <a:schemeClr val="phClr">
                <a:tint val="94000"/>
                <a:shade val="94000"/>
                <a:satMod val="128000"/>
                <a:lumMod val="100000"/>
              </a:schemeClr>
            </a:gs>
            <a:gs pos="100000">
              <a:schemeClr val="phClr">
                <a:tint val="98000"/>
                <a:shade val="100000"/>
                <a:hueMod val="98000"/>
                <a:satMod val="100000"/>
                <a:lumMod val="74000"/>
              </a:schemeClr>
            </a:gs>
          </a:gsLst>
          <a:path path="circle">
            <a:fillToRect l="20000" t="-40000" r="20000" b="14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6000"/>
                <a:satMod val="130000"/>
                <a:lumMod val="50000"/>
              </a:schemeClr>
              <a:schemeClr val="phClr">
                <a:tint val="96000"/>
                <a:satMod val="114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Тема для С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0_Тема для С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Форма волны.thmx</Template>
  <TotalTime>3405</TotalTime>
  <Words>911</Words>
  <Application>Microsoft Office PowerPoint</Application>
  <PresentationFormat>Экран (4:3)</PresentationFormat>
  <Paragraphs>158</Paragraphs>
  <Slides>1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Arial</vt:lpstr>
      <vt:lpstr>Calibri</vt:lpstr>
      <vt:lpstr>Candara</vt:lpstr>
      <vt:lpstr>Symbol</vt:lpstr>
      <vt:lpstr>Times New Roman</vt:lpstr>
      <vt:lpstr>Wingdings</vt:lpstr>
      <vt:lpstr>Wingdings 2</vt:lpstr>
      <vt:lpstr>Форма волны</vt:lpstr>
      <vt:lpstr>9_Тема для СД</vt:lpstr>
      <vt:lpstr>10_Тема для СД</vt:lpstr>
      <vt:lpstr>Презентация PowerPoint</vt:lpstr>
      <vt:lpstr>Проблемы семей, имеющих детей-инвалидов</vt:lpstr>
      <vt:lpstr>Презентация PowerPoint</vt:lpstr>
      <vt:lpstr>Меры социальной поддержки семей, имеющих  детей-инвалидов</vt:lpstr>
      <vt:lpstr>Меры социальной поддержки семей, предусмотренные муниципальной программой  «Социальная поддержка населения города Челябинска» </vt:lpstr>
      <vt:lpstr>   Субсидии социально ориентированным   некоммерческим организациям на реализацию  социально значимых проектов, направленных  на реабилитацию детей-инвалидов, в 2017 году </vt:lpstr>
      <vt:lpstr>Городской  фестиваль творчества детей  с ограниченными возможностями здоровья  «Искорки надежды»</vt:lpstr>
      <vt:lpstr> Муниципальная программа  «Об обеспечении беспрепятственного доступа  маломобильных групп населения  к объектам социальной  инфраструктуры и информации в городе  Челябинске»</vt:lpstr>
      <vt:lpstr>Презентация PowerPoint</vt:lpstr>
      <vt:lpstr>Межведомственный координационный совет  по вопросам детской инвалидности</vt:lpstr>
      <vt:lpstr>Муниципальное бюджетное учреждение  социального обслуживания города Челябинска  «Социально-реабилитационный центр для детей  и подростков с ограниченными возможностями «Здоровье»</vt:lpstr>
      <vt:lpstr>  Проект «Шаг навстречу»  (с 2015 года) ОТДЕЛЕНИЕ РАННЕГО ВМЕШАТЕЛЬСТВА </vt:lpstr>
      <vt:lpstr>Презентация PowerPoint</vt:lpstr>
      <vt:lpstr>   Целевая группа проекта -  дети города Челябинска  с расстройствами аутистического спектра, их родители и законные представители  </vt:lpstr>
      <vt:lpstr>Цель Проекта - коррекция стереотипов мышления о непреодолимости ограничений физического и психологического здоровья; выявление творческого потенциала детей с ОВЗ путем инклюзивного включения детей в разнообразные виды деятельности  </vt:lpstr>
      <vt:lpstr>Презентация PowerPoint</vt:lpstr>
      <vt:lpstr>Спасибо за внимание!</vt:lpstr>
    </vt:vector>
  </TitlesOfParts>
  <Company>zatsepinai@gmail.co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грамма БДФ «виктория»  «родные и близкие»</dc:title>
  <dc:creator>Irina Zatsepina</dc:creator>
  <cp:lastModifiedBy>Морской конек</cp:lastModifiedBy>
  <cp:revision>352</cp:revision>
  <cp:lastPrinted>2012-09-26T20:10:53Z</cp:lastPrinted>
  <dcterms:created xsi:type="dcterms:W3CDTF">2012-09-26T10:40:54Z</dcterms:created>
  <dcterms:modified xsi:type="dcterms:W3CDTF">2017-05-24T16:23:59Z</dcterms:modified>
</cp:coreProperties>
</file>